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Default Extension="bin" ContentType="application/vnd.openxmlformats-officedocument.oleObject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Default Extension="emf" ContentType="image/x-emf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22"/>
  </p:notesMasterIdLst>
  <p:handoutMasterIdLst>
    <p:handoutMasterId r:id="rId23"/>
  </p:handoutMasterIdLst>
  <p:sldIdLst>
    <p:sldId id="485" r:id="rId2"/>
    <p:sldId id="587" r:id="rId3"/>
    <p:sldId id="580" r:id="rId4"/>
    <p:sldId id="582" r:id="rId5"/>
    <p:sldId id="589" r:id="rId6"/>
    <p:sldId id="591" r:id="rId7"/>
    <p:sldId id="585" r:id="rId8"/>
    <p:sldId id="592" r:id="rId9"/>
    <p:sldId id="593" r:id="rId10"/>
    <p:sldId id="594" r:id="rId11"/>
    <p:sldId id="595" r:id="rId12"/>
    <p:sldId id="596" r:id="rId13"/>
    <p:sldId id="600" r:id="rId14"/>
    <p:sldId id="601" r:id="rId15"/>
    <p:sldId id="602" r:id="rId16"/>
    <p:sldId id="603" r:id="rId17"/>
    <p:sldId id="604" r:id="rId18"/>
    <p:sldId id="598" r:id="rId19"/>
    <p:sldId id="599" r:id="rId20"/>
    <p:sldId id="597" r:id="rId21"/>
  </p:sldIdLst>
  <p:sldSz cx="9144000" cy="6858000" type="screen4x3"/>
  <p:notesSz cx="6699250" cy="9836150"/>
  <p:custDataLst>
    <p:tags r:id="rId24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schemeClr val="tx1"/>
    </p:penClr>
  </p:showPr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Estilo temático 1 - Énfasis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8A107856-5554-42FB-B03E-39F5DBC370BA}" styleName="Estilo medio 4 - Énfasis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638B1855-1B75-4FBE-930C-398BA8C253C6}" styleName="Estilo temático 2 - Énfasis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84E427A-3D55-4303-BF80-6455036E1DE7}" styleName="Estilo temático 1 - Énfasis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0" autoAdjust="0"/>
    <p:restoredTop sz="94600" autoAdjust="0"/>
  </p:normalViewPr>
  <p:slideViewPr>
    <p:cSldViewPr snapToGrid="0">
      <p:cViewPr varScale="1">
        <p:scale>
          <a:sx n="66" d="100"/>
          <a:sy n="66" d="100"/>
        </p:scale>
        <p:origin x="-576" y="-108"/>
      </p:cViewPr>
      <p:guideLst>
        <p:guide orient="horz" pos="4319"/>
        <p:guide pos="213"/>
        <p:guide pos="556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91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78138" cy="52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101" tIns="44550" rIns="89101" bIns="44550" numCol="1" anchor="t" anchorCtr="0" compatLnSpc="1">
            <a:prstTxWarp prst="textNoShape">
              <a:avLst/>
            </a:prstTxWarp>
          </a:bodyPr>
          <a:lstStyle>
            <a:lvl1pPr defTabSz="889000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5910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62375" y="0"/>
            <a:ext cx="2952750" cy="52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101" tIns="44550" rIns="89101" bIns="44550" numCol="1" anchor="t" anchorCtr="0" compatLnSpc="1">
            <a:prstTxWarp prst="textNoShape">
              <a:avLst/>
            </a:prstTxWarp>
          </a:bodyPr>
          <a:lstStyle>
            <a:lvl1pPr algn="r" defTabSz="889000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5910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23388"/>
            <a:ext cx="2878138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101" tIns="44550" rIns="89101" bIns="44550" numCol="1" anchor="b" anchorCtr="0" compatLnSpc="1">
            <a:prstTxWarp prst="textNoShape">
              <a:avLst/>
            </a:prstTxWarp>
          </a:bodyPr>
          <a:lstStyle>
            <a:lvl1pPr defTabSz="889000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5910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62375" y="9323388"/>
            <a:ext cx="2952750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101" tIns="44550" rIns="89101" bIns="44550" numCol="1" anchor="b" anchorCtr="0" compatLnSpc="1">
            <a:prstTxWarp prst="textNoShape">
              <a:avLst/>
            </a:prstTxWarp>
          </a:bodyPr>
          <a:lstStyle>
            <a:lvl1pPr algn="r" defTabSz="889000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fld id="{FCFAA021-02EE-41D5-8E5F-B35A1E661D94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0195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75" tIns="47239" rIns="94475" bIns="47239" numCol="1" anchor="t" anchorCtr="0" compatLnSpc="1">
            <a:prstTxWarp prst="textNoShape">
              <a:avLst/>
            </a:prstTxWarp>
          </a:bodyPr>
          <a:lstStyle>
            <a:lvl1pPr defTabSz="942975" eaLnBrk="1" hangingPunct="1"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97300" y="0"/>
            <a:ext cx="290195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75" tIns="47239" rIns="94475" bIns="47239" numCol="1" anchor="t" anchorCtr="0" compatLnSpc="1">
            <a:prstTxWarp prst="textNoShape">
              <a:avLst/>
            </a:prstTxWarp>
          </a:bodyPr>
          <a:lstStyle>
            <a:lvl1pPr algn="r" defTabSz="942975" eaLnBrk="1" hangingPunct="1"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12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90588" y="738188"/>
            <a:ext cx="4919662" cy="36893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93763" y="4672013"/>
            <a:ext cx="4911725" cy="4425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75" tIns="47239" rIns="94475" bIns="4723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Klicken Sie, um die Formate des Vorlagentextes zu bearbeiten</a:t>
            </a:r>
          </a:p>
          <a:p>
            <a:pPr lvl="1"/>
            <a:r>
              <a:rPr lang="en-GB" noProof="0" smtClean="0"/>
              <a:t>Zweite Ebene</a:t>
            </a:r>
          </a:p>
          <a:p>
            <a:pPr lvl="2"/>
            <a:r>
              <a:rPr lang="en-GB" noProof="0" smtClean="0"/>
              <a:t>Dritte Ebene</a:t>
            </a:r>
          </a:p>
          <a:p>
            <a:pPr lvl="3"/>
            <a:r>
              <a:rPr lang="en-GB" noProof="0" smtClean="0"/>
              <a:t>Vierte Ebene</a:t>
            </a:r>
          </a:p>
          <a:p>
            <a:pPr lvl="4"/>
            <a:r>
              <a:rPr lang="en-GB" noProof="0" smtClean="0"/>
              <a:t>Fünfte Ebene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45613"/>
            <a:ext cx="2901950" cy="49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75" tIns="47239" rIns="94475" bIns="47239" numCol="1" anchor="b" anchorCtr="0" compatLnSpc="1">
            <a:prstTxWarp prst="textNoShape">
              <a:avLst/>
            </a:prstTxWarp>
          </a:bodyPr>
          <a:lstStyle>
            <a:lvl1pPr defTabSz="942975" eaLnBrk="1" hangingPunct="1">
              <a:defRPr sz="130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97300" y="9345613"/>
            <a:ext cx="2901950" cy="49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75" tIns="47239" rIns="94475" bIns="47239" numCol="1" anchor="b" anchorCtr="0" compatLnSpc="1">
            <a:prstTxWarp prst="textNoShape">
              <a:avLst/>
            </a:prstTxWarp>
          </a:bodyPr>
          <a:lstStyle>
            <a:lvl1pPr algn="r" defTabSz="942975" eaLnBrk="1" hangingPunct="1">
              <a:defRPr sz="1300">
                <a:latin typeface="Arial" charset="0"/>
              </a:defRPr>
            </a:lvl1pPr>
          </a:lstStyle>
          <a:p>
            <a:pPr>
              <a:defRPr/>
            </a:pPr>
            <a:fld id="{2CC59875-E7CA-40C5-88D0-440DA8D5EEEE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482375E-7BB3-4C6F-AADD-95824297C224}" type="slidenum">
              <a:rPr lang="en-GB" smtClean="0">
                <a:latin typeface="Arial" pitchFamily="34" charset="0"/>
              </a:rPr>
              <a:pPr/>
              <a:t>1</a:t>
            </a:fld>
            <a:endParaRPr lang="en-GB" smtClean="0">
              <a:latin typeface="Arial" pitchFamily="34" charset="0"/>
            </a:endParaRPr>
          </a:p>
        </p:txBody>
      </p:sp>
      <p:sp>
        <p:nvSpPr>
          <p:cNvPr id="12291" name="Rectangle 1026"/>
          <p:cNvSpPr>
            <a:spLocks noGrp="1" noChangeArrowheads="1"/>
          </p:cNvSpPr>
          <p:nvPr>
            <p:ph type="body" idx="1"/>
          </p:nvPr>
        </p:nvSpPr>
        <p:spPr>
          <a:xfrm>
            <a:off x="242888" y="5253038"/>
            <a:ext cx="6283325" cy="4051300"/>
          </a:xfrm>
          <a:noFill/>
          <a:ln/>
        </p:spPr>
        <p:txBody>
          <a:bodyPr lIns="89384" tIns="44694" rIns="89384" bIns="44694"/>
          <a:lstStyle/>
          <a:p>
            <a:pPr eaLnBrk="1" hangingPunct="1"/>
            <a:endParaRPr lang="en-GB" smtClean="0">
              <a:latin typeface="Arial" pitchFamily="34" charset="0"/>
            </a:endParaRPr>
          </a:p>
        </p:txBody>
      </p:sp>
      <p:sp>
        <p:nvSpPr>
          <p:cNvPr id="12292" name="Rectangle 1027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588" y="0"/>
            <a:ext cx="6696075" cy="5022850"/>
          </a:xfrm>
          <a:ln/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CC59875-E7CA-40C5-88D0-440DA8D5EEEE}" type="slidenum">
              <a:rPr lang="en-GB" smtClean="0"/>
              <a:pPr>
                <a:defRPr/>
              </a:pPr>
              <a:t>2</a:t>
            </a:fld>
            <a:endParaRPr lang="en-GB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146E660-6B55-4723-8862-271F94F260BE}" type="slidenum">
              <a:rPr lang="en-GB" smtClean="0">
                <a:latin typeface="Arial" pitchFamily="34" charset="0"/>
              </a:rPr>
              <a:pPr/>
              <a:t>3</a:t>
            </a:fld>
            <a:endParaRPr lang="en-GB" smtClean="0">
              <a:latin typeface="Arial" pitchFamily="34" charset="0"/>
            </a:endParaRPr>
          </a:p>
        </p:txBody>
      </p:sp>
      <p:sp>
        <p:nvSpPr>
          <p:cNvPr id="143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34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B854262-2DC7-4405-B37F-5661764AB915}" type="slidenum">
              <a:rPr lang="en-GB" smtClean="0">
                <a:latin typeface="Arial" pitchFamily="34" charset="0"/>
              </a:rPr>
              <a:pPr/>
              <a:t>4</a:t>
            </a:fld>
            <a:endParaRPr lang="en-GB" smtClean="0">
              <a:latin typeface="Arial" pitchFamily="34" charset="0"/>
            </a:endParaRPr>
          </a:p>
        </p:txBody>
      </p:sp>
      <p:sp>
        <p:nvSpPr>
          <p:cNvPr id="153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36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B854262-2DC7-4405-B37F-5661764AB915}" type="slidenum">
              <a:rPr lang="en-GB" smtClean="0">
                <a:latin typeface="Arial" pitchFamily="34" charset="0"/>
              </a:rPr>
              <a:pPr/>
              <a:t>5</a:t>
            </a:fld>
            <a:endParaRPr lang="en-GB" smtClean="0">
              <a:latin typeface="Arial" pitchFamily="34" charset="0"/>
            </a:endParaRPr>
          </a:p>
        </p:txBody>
      </p:sp>
      <p:sp>
        <p:nvSpPr>
          <p:cNvPr id="153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36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B854262-2DC7-4405-B37F-5661764AB915}" type="slidenum">
              <a:rPr lang="en-GB" smtClean="0">
                <a:latin typeface="Arial" pitchFamily="34" charset="0"/>
              </a:rPr>
              <a:pPr/>
              <a:t>6</a:t>
            </a:fld>
            <a:endParaRPr lang="en-GB" smtClean="0">
              <a:latin typeface="Arial" pitchFamily="34" charset="0"/>
            </a:endParaRPr>
          </a:p>
        </p:txBody>
      </p:sp>
      <p:sp>
        <p:nvSpPr>
          <p:cNvPr id="153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36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CC59875-E7CA-40C5-88D0-440DA8D5EEEE}" type="slidenum">
              <a:rPr lang="en-GB" smtClean="0"/>
              <a:pPr>
                <a:defRPr/>
              </a:pPr>
              <a:t>15</a:t>
            </a:fld>
            <a:endParaRPr lang="en-GB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CC59875-E7CA-40C5-88D0-440DA8D5EEEE}" type="slidenum">
              <a:rPr lang="en-GB" smtClean="0"/>
              <a:pPr>
                <a:defRPr/>
              </a:pPr>
              <a:t>16</a:t>
            </a:fld>
            <a:endParaRPr lang="en-GB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CC59875-E7CA-40C5-88D0-440DA8D5EEEE}" type="slidenum">
              <a:rPr lang="en-GB" smtClean="0"/>
              <a:pPr>
                <a:defRPr/>
              </a:pPr>
              <a:t>17</a:t>
            </a:fld>
            <a:endParaRPr lang="en-GB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Unbenannt-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097713" y="2887663"/>
            <a:ext cx="1381125" cy="213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3" descr="PP small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516563" y="6005513"/>
            <a:ext cx="32258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45506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2581275" y="1639888"/>
            <a:ext cx="6081713" cy="909637"/>
          </a:xfrm>
        </p:spPr>
        <p:txBody>
          <a:bodyPr lIns="91440" rIns="91440"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045507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581275" y="2547938"/>
            <a:ext cx="6088063" cy="904875"/>
          </a:xfrm>
        </p:spPr>
        <p:txBody>
          <a:bodyPr lIns="91440" rIns="91440" anchor="ctr"/>
          <a:lstStyle>
            <a:lvl1pPr marL="0" indent="0">
              <a:spcBef>
                <a:spcPct val="0"/>
              </a:spcBef>
              <a:buFont typeface="Wingdings" pitchFamily="2" charset="2"/>
              <a:buNone/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ext styles</a:t>
            </a:r>
          </a:p>
        </p:txBody>
      </p:sp>
    </p:spTree>
  </p:cSld>
  <p:clrMapOvr>
    <a:masterClrMapping/>
  </p:clrMapOvr>
  <p:transition spd="med"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C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C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ere comes your footer  </a:t>
            </a:r>
            <a:r>
              <a:rPr lang="de-DE">
                <a:sym typeface="Wingdings" pitchFamily="2" charset="2"/>
              </a:rPr>
              <a:t></a:t>
            </a:r>
            <a:r>
              <a:rPr lang="de-DE"/>
              <a:t>  Page </a:t>
            </a:r>
            <a:fld id="{97674899-4D5B-40A2-91AA-6D46A7840A8C}" type="slidenum">
              <a:rPr lang="de-DE"/>
              <a:pPr>
                <a:defRPr/>
              </a:pPr>
              <a:t>‹Nº›</a:t>
            </a:fld>
            <a:endParaRPr lang="de-DE"/>
          </a:p>
        </p:txBody>
      </p:sp>
    </p:spTree>
  </p:cSld>
  <p:clrMapOvr>
    <a:masterClrMapping/>
  </p:clrMapOvr>
  <p:transition spd="med"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711950" y="622300"/>
            <a:ext cx="2132013" cy="528637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C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314325" y="622300"/>
            <a:ext cx="6245225" cy="528637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C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ere comes your footer  </a:t>
            </a:r>
            <a:r>
              <a:rPr lang="de-DE">
                <a:sym typeface="Wingdings" pitchFamily="2" charset="2"/>
              </a:rPr>
              <a:t></a:t>
            </a:r>
            <a:r>
              <a:rPr lang="de-DE"/>
              <a:t>  Page </a:t>
            </a:r>
            <a:fld id="{FE13E1B7-A0E5-4C74-9D68-B2F8A0101577}" type="slidenum">
              <a:rPr lang="de-DE"/>
              <a:pPr>
                <a:defRPr/>
              </a:pPr>
              <a:t>‹Nº›</a:t>
            </a:fld>
            <a:endParaRPr lang="de-DE"/>
          </a:p>
        </p:txBody>
      </p:sp>
    </p:spTree>
  </p:cSld>
  <p:clrMapOvr>
    <a:masterClrMapping/>
  </p:clrMapOvr>
  <p:transition spd="med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C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C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ere comes your footer  </a:t>
            </a:r>
            <a:r>
              <a:rPr lang="de-DE">
                <a:sym typeface="Wingdings" pitchFamily="2" charset="2"/>
              </a:rPr>
              <a:t></a:t>
            </a:r>
            <a:r>
              <a:rPr lang="de-DE"/>
              <a:t>  Page </a:t>
            </a:r>
            <a:fld id="{3E567BFB-DB35-4C08-86A7-50461D7639A7}" type="slidenum">
              <a:rPr lang="de-DE"/>
              <a:pPr>
                <a:defRPr/>
              </a:pPr>
              <a:t>‹Nº›</a:t>
            </a:fld>
            <a:endParaRPr lang="de-DE"/>
          </a:p>
        </p:txBody>
      </p:sp>
    </p:spTree>
  </p:cSld>
  <p:clrMapOvr>
    <a:masterClrMapping/>
  </p:clrMapOvr>
  <p:transition spd="med"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EC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ere comes your footer  </a:t>
            </a:r>
            <a:r>
              <a:rPr lang="de-DE">
                <a:sym typeface="Wingdings" pitchFamily="2" charset="2"/>
              </a:rPr>
              <a:t></a:t>
            </a:r>
            <a:r>
              <a:rPr lang="de-DE"/>
              <a:t>  Page </a:t>
            </a:r>
            <a:fld id="{FB960F7A-AD11-452B-A695-85176AB9FE84}" type="slidenum">
              <a:rPr lang="de-DE"/>
              <a:pPr>
                <a:defRPr/>
              </a:pPr>
              <a:t>‹Nº›</a:t>
            </a:fld>
            <a:endParaRPr lang="de-DE"/>
          </a:p>
        </p:txBody>
      </p:sp>
    </p:spTree>
  </p:cSld>
  <p:clrMapOvr>
    <a:masterClrMapping/>
  </p:clrMapOvr>
  <p:transition spd="med"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C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319088" y="1879600"/>
            <a:ext cx="4186237" cy="4029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C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57725" y="1879600"/>
            <a:ext cx="4186238" cy="4029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C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ere comes your footer  </a:t>
            </a:r>
            <a:r>
              <a:rPr lang="de-DE">
                <a:sym typeface="Wingdings" pitchFamily="2" charset="2"/>
              </a:rPr>
              <a:t></a:t>
            </a:r>
            <a:r>
              <a:rPr lang="de-DE"/>
              <a:t>  Page </a:t>
            </a:r>
            <a:fld id="{DDDF6F7B-E9F1-45E5-B581-316B867AB101}" type="slidenum">
              <a:rPr lang="de-DE"/>
              <a:pPr>
                <a:defRPr/>
              </a:pPr>
              <a:t>‹Nº›</a:t>
            </a:fld>
            <a:endParaRPr lang="de-DE"/>
          </a:p>
        </p:txBody>
      </p:sp>
    </p:spTree>
  </p:cSld>
  <p:clrMapOvr>
    <a:masterClrMapping/>
  </p:clrMapOvr>
  <p:transition spd="med"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EC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C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C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ere comes your footer  </a:t>
            </a:r>
            <a:r>
              <a:rPr lang="de-DE">
                <a:sym typeface="Wingdings" pitchFamily="2" charset="2"/>
              </a:rPr>
              <a:t></a:t>
            </a:r>
            <a:r>
              <a:rPr lang="de-DE"/>
              <a:t>  Page </a:t>
            </a:r>
            <a:fld id="{C2E33D28-F4CC-4E80-851C-240F6A62EC4A}" type="slidenum">
              <a:rPr lang="de-DE"/>
              <a:pPr>
                <a:defRPr/>
              </a:pPr>
              <a:t>‹Nº›</a:t>
            </a:fld>
            <a:endParaRPr lang="de-DE"/>
          </a:p>
        </p:txBody>
      </p:sp>
    </p:spTree>
  </p:cSld>
  <p:clrMapOvr>
    <a:masterClrMapping/>
  </p:clrMapOvr>
  <p:transition spd="med"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C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ere comes your footer  </a:t>
            </a:r>
            <a:r>
              <a:rPr lang="de-DE">
                <a:sym typeface="Wingdings" pitchFamily="2" charset="2"/>
              </a:rPr>
              <a:t></a:t>
            </a:r>
            <a:r>
              <a:rPr lang="de-DE"/>
              <a:t>  Page </a:t>
            </a:r>
            <a:fld id="{7E5FAC20-DEAF-45FB-9EE9-AD340A757B88}" type="slidenum">
              <a:rPr lang="de-DE"/>
              <a:pPr>
                <a:defRPr/>
              </a:pPr>
              <a:t>‹Nº›</a:t>
            </a:fld>
            <a:endParaRPr lang="de-DE"/>
          </a:p>
        </p:txBody>
      </p:sp>
    </p:spTree>
  </p:cSld>
  <p:clrMapOvr>
    <a:masterClrMapping/>
  </p:clrMapOvr>
  <p:transition spd="med"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ere comes your footer  </a:t>
            </a:r>
            <a:r>
              <a:rPr lang="de-DE">
                <a:sym typeface="Wingdings" pitchFamily="2" charset="2"/>
              </a:rPr>
              <a:t></a:t>
            </a:r>
            <a:r>
              <a:rPr lang="de-DE"/>
              <a:t>  Page </a:t>
            </a:r>
            <a:fld id="{A9671ECC-9CE2-4863-B993-940F4E6B18D4}" type="slidenum">
              <a:rPr lang="de-DE"/>
              <a:pPr>
                <a:defRPr/>
              </a:pPr>
              <a:t>‹Nº›</a:t>
            </a:fld>
            <a:endParaRPr lang="de-DE"/>
          </a:p>
        </p:txBody>
      </p:sp>
    </p:spTree>
  </p:cSld>
  <p:clrMapOvr>
    <a:masterClrMapping/>
  </p:clrMapOvr>
  <p:transition spd="med"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C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C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ere comes your footer  </a:t>
            </a:r>
            <a:r>
              <a:rPr lang="de-DE">
                <a:sym typeface="Wingdings" pitchFamily="2" charset="2"/>
              </a:rPr>
              <a:t></a:t>
            </a:r>
            <a:r>
              <a:rPr lang="de-DE"/>
              <a:t>  Page </a:t>
            </a:r>
            <a:fld id="{FC26050F-66F1-4A24-985D-40DFB72A2F2D}" type="slidenum">
              <a:rPr lang="de-DE"/>
              <a:pPr>
                <a:defRPr/>
              </a:pPr>
              <a:t>‹Nº›</a:t>
            </a:fld>
            <a:endParaRPr lang="de-DE"/>
          </a:p>
        </p:txBody>
      </p:sp>
    </p:spTree>
  </p:cSld>
  <p:clrMapOvr>
    <a:masterClrMapping/>
  </p:clrMapOvr>
  <p:transition spd="med"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C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EC" noProof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ere comes your footer  </a:t>
            </a:r>
            <a:r>
              <a:rPr lang="de-DE">
                <a:sym typeface="Wingdings" pitchFamily="2" charset="2"/>
              </a:rPr>
              <a:t></a:t>
            </a:r>
            <a:r>
              <a:rPr lang="de-DE"/>
              <a:t>  Page </a:t>
            </a:r>
            <a:fld id="{11C21D09-DA39-44ED-A07F-92013E798724}" type="slidenum">
              <a:rPr lang="de-DE"/>
              <a:pPr>
                <a:defRPr/>
              </a:pPr>
              <a:t>‹Nº›</a:t>
            </a:fld>
            <a:endParaRPr lang="de-DE"/>
          </a:p>
        </p:txBody>
      </p:sp>
    </p:spTree>
  </p:cSld>
  <p:clrMapOvr>
    <a:masterClrMapping/>
  </p:clrMapOvr>
  <p:transition spd="med"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14325" y="622300"/>
            <a:ext cx="8515350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de-DE" smtClean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9088" y="1879600"/>
            <a:ext cx="8524875" cy="402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smtClean="0"/>
          </a:p>
        </p:txBody>
      </p:sp>
      <p:sp>
        <p:nvSpPr>
          <p:cNvPr id="104448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76225" y="6408738"/>
            <a:ext cx="276225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solidFill>
                  <a:schemeClr val="tx2"/>
                </a:solidFill>
                <a:latin typeface="Arial" charset="0"/>
              </a:defRPr>
            </a:lvl1pPr>
          </a:lstStyle>
          <a:p>
            <a:pPr>
              <a:defRPr/>
            </a:pPr>
            <a:r>
              <a:rPr lang="de-DE"/>
              <a:t>Here comes your footer  </a:t>
            </a:r>
            <a:r>
              <a:rPr lang="de-DE">
                <a:sym typeface="Wingdings" pitchFamily="2" charset="2"/>
              </a:rPr>
              <a:t></a:t>
            </a:r>
            <a:r>
              <a:rPr lang="de-DE"/>
              <a:t>  Page </a:t>
            </a:r>
            <a:fld id="{27FE25E1-9222-4955-B8CF-B22C2683F5A6}" type="slidenum">
              <a:rPr lang="de-DE"/>
              <a:pPr>
                <a:defRPr/>
              </a:pPr>
              <a:t>‹Nº›</a:t>
            </a:fld>
            <a:endParaRPr lang="de-DE"/>
          </a:p>
        </p:txBody>
      </p:sp>
      <p:pic>
        <p:nvPicPr>
          <p:cNvPr id="2053" name="Picture 17" descr="PP small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6361113" y="6350000"/>
            <a:ext cx="24638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</p:sldLayoutIdLst>
  <p:transition spd="med">
    <p:wipe dir="r"/>
  </p:transition>
  <p:hf sldNum="0" hdr="0" dt="0"/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9pPr>
    </p:titleStyle>
    <p:bodyStyle>
      <a:lvl1pPr marL="190500" indent="-190500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381000" indent="-188913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Char char="-"/>
        <a:defRPr sz="2800">
          <a:solidFill>
            <a:schemeClr val="tx1"/>
          </a:solidFill>
          <a:latin typeface="+mn-lt"/>
        </a:defRPr>
      </a:lvl2pPr>
      <a:lvl3pPr marL="561975" indent="-179388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Char char="-"/>
        <a:defRPr sz="2400">
          <a:solidFill>
            <a:schemeClr val="tx1"/>
          </a:solidFill>
          <a:latin typeface="+mn-lt"/>
        </a:defRPr>
      </a:lvl3pPr>
      <a:lvl4pPr marL="752475" indent="-188913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Char char="-"/>
        <a:defRPr sz="2000">
          <a:solidFill>
            <a:schemeClr val="tx1"/>
          </a:solidFill>
          <a:latin typeface="+mn-lt"/>
        </a:defRPr>
      </a:lvl4pPr>
      <a:lvl5pPr marL="962025" indent="-207963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5pPr>
      <a:lvl6pPr marL="1419225" indent="-207963" algn="l" rtl="0" fontAlgn="base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6pPr>
      <a:lvl7pPr marL="1876425" indent="-207963" algn="l" rtl="0" fontAlgn="base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7pPr>
      <a:lvl8pPr marL="2333625" indent="-207963" algn="l" rtl="0" fontAlgn="base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8pPr>
      <a:lvl9pPr marL="2790825" indent="-207963" algn="l" rtl="0" fontAlgn="base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9pPr>
    </p:bodyStyle>
    <p:otherStyle>
      <a:defPPr>
        <a:defRPr lang="es-EC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../Files/Urbano/voicemail.conf" TargetMode="External"/><Relationship Id="rId3" Type="http://schemas.openxmlformats.org/officeDocument/2006/relationships/image" Target="../media/image6.png"/><Relationship Id="rId7" Type="http://schemas.openxmlformats.org/officeDocument/2006/relationships/hyperlink" Target="../Files/Rural/dundi.conf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hyperlink" Target="../Files/Urbano/dundi.conf" TargetMode="External"/><Relationship Id="rId5" Type="http://schemas.openxmlformats.org/officeDocument/2006/relationships/hyperlink" Target="../Files/Rural/extensions.conf" TargetMode="External"/><Relationship Id="rId4" Type="http://schemas.openxmlformats.org/officeDocument/2006/relationships/hyperlink" Target="../Files/Urbano/extensions.conf" TargetMode="External"/><Relationship Id="rId9" Type="http://schemas.openxmlformats.org/officeDocument/2006/relationships/hyperlink" Target="../Files/Rural/voicemail.conf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hyperlink" Target="video%20tesis%20ultimo.wmv" TargetMode="Externa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8.jpeg"/><Relationship Id="rId4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3.xml"/><Relationship Id="rId7" Type="http://schemas.openxmlformats.org/officeDocument/2006/relationships/image" Target="../media/image9.jpe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m/imgres?imgurl=http://www.pinguinosycia.com/wp-content/uploads/2009/07/centos.png&amp;imgrefurl=http://www.pinguinosycia.com/centos-5-6-disponible/&amp;usg=__IG1ziiMglVswCL6WAvPTxZk1c6Y=&amp;h=250&amp;w=247&amp;sz=55&amp;hl=es&amp;start=19&amp;zoom=1&amp;um=1&amp;itbs=1&amp;tbnid=D7c-iAPtXB1vzM:&amp;tbnh=111&amp;tbnw=110&amp;prev=/search?q=centos&amp;um=1&amp;hl=es&amp;biw=1261&amp;bih=810&amp;tbm=isch&amp;ei=_2X1TZm0Iebn0QHPjNHzDA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jpeg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14"/>
          <p:cNvSpPr>
            <a:spLocks noGrp="1" noChangeArrowheads="1"/>
          </p:cNvSpPr>
          <p:nvPr>
            <p:ph type="ctrTitle"/>
          </p:nvPr>
        </p:nvSpPr>
        <p:spPr>
          <a:xfrm>
            <a:off x="0" y="1392072"/>
            <a:ext cx="9144000" cy="2047164"/>
          </a:xfrm>
        </p:spPr>
        <p:txBody>
          <a:bodyPr/>
          <a:lstStyle/>
          <a:p>
            <a:pPr algn="just" eaLnBrk="1" hangingPunct="1"/>
            <a:r>
              <a:rPr lang="es-ES" sz="3200" dirty="0" smtClean="0"/>
              <a:t>Diseño del Modelo de una Red </a:t>
            </a:r>
            <a:r>
              <a:rPr lang="es-ES" sz="3200" dirty="0" err="1" smtClean="0"/>
              <a:t>WiFi</a:t>
            </a:r>
            <a:r>
              <a:rPr lang="es-ES" sz="3200" dirty="0" smtClean="0"/>
              <a:t> con Servicios de Telefonía IP con enlaces de larga distancia en zonas rurales como solución a la demanda de telefonía tradicional</a:t>
            </a:r>
            <a:endParaRPr lang="de-DE" sz="3200" dirty="0" smtClean="0"/>
          </a:p>
        </p:txBody>
      </p:sp>
      <p:sp>
        <p:nvSpPr>
          <p:cNvPr id="5" name="4 CuadroTexto"/>
          <p:cNvSpPr txBox="1"/>
          <p:nvPr/>
        </p:nvSpPr>
        <p:spPr>
          <a:xfrm>
            <a:off x="5540991" y="5923129"/>
            <a:ext cx="3603010" cy="92333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r"/>
            <a:r>
              <a:rPr lang="es-ES" b="1" dirty="0" smtClean="0">
                <a:solidFill>
                  <a:schemeClr val="accent3"/>
                </a:solidFill>
              </a:rPr>
              <a:t>Ángel Lacerna Córdova</a:t>
            </a:r>
          </a:p>
          <a:p>
            <a:pPr algn="r"/>
            <a:r>
              <a:rPr lang="es-ES" b="1" dirty="0" smtClean="0">
                <a:solidFill>
                  <a:schemeClr val="accent3"/>
                </a:solidFill>
              </a:rPr>
              <a:t>David Cañar Murillo</a:t>
            </a:r>
          </a:p>
          <a:p>
            <a:pPr algn="r"/>
            <a:endParaRPr lang="es-ES" b="1" dirty="0">
              <a:solidFill>
                <a:schemeClr val="accent3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52861" y="0"/>
            <a:ext cx="7091139" cy="688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8667" y="-25563"/>
            <a:ext cx="7091139" cy="688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0" name="1 Título"/>
          <p:cNvSpPr>
            <a:spLocks noGrp="1"/>
          </p:cNvSpPr>
          <p:nvPr>
            <p:ph type="title"/>
          </p:nvPr>
        </p:nvSpPr>
        <p:spPr>
          <a:xfrm>
            <a:off x="314325" y="578757"/>
            <a:ext cx="8515350" cy="600075"/>
          </a:xfrm>
        </p:spPr>
        <p:txBody>
          <a:bodyPr/>
          <a:lstStyle/>
          <a:p>
            <a:r>
              <a:rPr lang="de-DE" sz="5000" b="0" dirty="0" smtClean="0"/>
              <a:t>Hardware</a:t>
            </a:r>
            <a:endParaRPr lang="es-ES" sz="5000" b="0" dirty="0" smtClean="0"/>
          </a:p>
        </p:txBody>
      </p:sp>
      <p:sp>
        <p:nvSpPr>
          <p:cNvPr id="7171" name="3 Marcador de pie de página"/>
          <p:cNvSpPr>
            <a:spLocks noGrp="1"/>
          </p:cNvSpPr>
          <p:nvPr>
            <p:ph type="ftr" sz="quarter" idx="10"/>
          </p:nvPr>
        </p:nvSpPr>
        <p:spPr>
          <a:xfrm>
            <a:off x="276225" y="6408738"/>
            <a:ext cx="3466216" cy="247650"/>
          </a:xfrm>
          <a:noFill/>
        </p:spPr>
        <p:txBody>
          <a:bodyPr/>
          <a:lstStyle/>
          <a:p>
            <a:r>
              <a:rPr lang="de-DE" dirty="0" smtClean="0">
                <a:sym typeface="Wingdings" pitchFamily="2" charset="2"/>
              </a:rPr>
              <a:t>VoIP en zonas rurales usando WiFi   </a:t>
            </a:r>
            <a:r>
              <a:rPr lang="de-DE" dirty="0" smtClean="0">
                <a:latin typeface="Arial" pitchFamily="34" charset="0"/>
                <a:sym typeface="Wingdings" pitchFamily="2" charset="2"/>
              </a:rPr>
              <a:t></a:t>
            </a:r>
            <a:r>
              <a:rPr lang="de-DE" dirty="0" smtClean="0">
                <a:latin typeface="Arial" pitchFamily="34" charset="0"/>
              </a:rPr>
              <a:t>  Pag </a:t>
            </a:r>
            <a:fld id="{9F6DF784-F317-4650-8B2E-AFFFD54B7643}" type="slidenum">
              <a:rPr lang="de-DE" smtClean="0">
                <a:latin typeface="Arial" pitchFamily="34" charset="0"/>
              </a:rPr>
              <a:pPr/>
              <a:t>10</a:t>
            </a:fld>
            <a:endParaRPr lang="de-DE" dirty="0" smtClean="0">
              <a:latin typeface="Arial" pitchFamily="34" charset="0"/>
            </a:endParaRPr>
          </a:p>
        </p:txBody>
      </p:sp>
      <p:sp>
        <p:nvSpPr>
          <p:cNvPr id="9" name="3 Marcador de texto"/>
          <p:cNvSpPr txBox="1">
            <a:spLocks/>
          </p:cNvSpPr>
          <p:nvPr/>
        </p:nvSpPr>
        <p:spPr>
          <a:xfrm>
            <a:off x="841829" y="1483698"/>
            <a:ext cx="7750627" cy="4147835"/>
          </a:xfrm>
          <a:prstGeom prst="rect">
            <a:avLst/>
          </a:prstGeom>
        </p:spPr>
        <p:txBody>
          <a:bodyPr/>
          <a:lstStyle/>
          <a:p>
            <a:pPr marL="190500" marR="0" lvl="0" indent="-190500" algn="l" defTabSz="914400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Char char="ü"/>
              <a:tabLst/>
              <a:defRPr/>
            </a:pPr>
            <a:r>
              <a:rPr kumimoji="0" lang="es-ES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lang="es-ES" sz="2000" kern="0" noProof="0" dirty="0" smtClean="0">
                <a:latin typeface="+mn-lt"/>
              </a:rPr>
              <a:t>Teléfono IP inalámbrico</a:t>
            </a:r>
            <a:endParaRPr lang="es-ES" sz="2000" kern="0" dirty="0" smtClean="0">
              <a:latin typeface="+mn-lt"/>
            </a:endParaRPr>
          </a:p>
          <a:p>
            <a:pPr marL="449263" lvl="1">
              <a:spcBef>
                <a:spcPct val="40000"/>
              </a:spcBef>
              <a:buClr>
                <a:schemeClr val="accent1"/>
              </a:buClr>
            </a:pPr>
            <a:r>
              <a:rPr lang="es-ES" kern="0" dirty="0" smtClean="0">
                <a:latin typeface="+mn-lt"/>
              </a:rPr>
              <a:t>Es </a:t>
            </a:r>
            <a:r>
              <a:rPr lang="es-ES" dirty="0" smtClean="0"/>
              <a:t>el </a:t>
            </a:r>
            <a:r>
              <a:rPr lang="es-ES" dirty="0"/>
              <a:t>principal recurso a utilizar en este proyecto para </a:t>
            </a:r>
            <a:r>
              <a:rPr lang="es-ES" dirty="0" smtClean="0"/>
              <a:t>permitir comunicar </a:t>
            </a:r>
            <a:r>
              <a:rPr lang="es-ES" dirty="0"/>
              <a:t>a los usuarios. </a:t>
            </a:r>
            <a:endParaRPr lang="es-ES" kern="0" dirty="0" smtClean="0">
              <a:latin typeface="+mn-lt"/>
            </a:endParaRPr>
          </a:p>
          <a:p>
            <a:pPr marL="647700" lvl="1" indent="-190500">
              <a:spcBef>
                <a:spcPct val="40000"/>
              </a:spcBef>
              <a:buClr>
                <a:schemeClr val="accent1"/>
              </a:buClr>
            </a:pPr>
            <a:endParaRPr lang="es-ES" kern="0" dirty="0">
              <a:latin typeface="+mn-lt"/>
            </a:endParaRPr>
          </a:p>
          <a:p>
            <a:pPr marL="261938" lvl="1" indent="-87313">
              <a:spcBef>
                <a:spcPct val="40000"/>
              </a:spcBef>
              <a:buClr>
                <a:schemeClr val="accent1"/>
              </a:buClr>
            </a:pPr>
            <a:r>
              <a:rPr lang="es-ES" b="1" kern="0" dirty="0" smtClean="0">
                <a:latin typeface="+mn-lt"/>
              </a:rPr>
              <a:t>Características</a:t>
            </a:r>
          </a:p>
          <a:p>
            <a:pPr marL="647700" lvl="1" indent="-190500">
              <a:spcBef>
                <a:spcPct val="40000"/>
              </a:spcBef>
              <a:buClr>
                <a:schemeClr val="accent1"/>
              </a:buClr>
            </a:pPr>
            <a:endParaRPr kumimoji="0" lang="es-ES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aphicFrame>
        <p:nvGraphicFramePr>
          <p:cNvPr id="7" name="6 Tabla"/>
          <p:cNvGraphicFramePr>
            <a:graphicFrameLocks noGrp="1"/>
          </p:cNvGraphicFramePr>
          <p:nvPr/>
        </p:nvGraphicFramePr>
        <p:xfrm>
          <a:off x="1117600" y="3341919"/>
          <a:ext cx="4413736" cy="1584960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1335314"/>
                <a:gridCol w="3078422"/>
              </a:tblGrid>
              <a:tr h="214314">
                <a:tc>
                  <a:txBody>
                    <a:bodyPr/>
                    <a:lstStyle/>
                    <a:p>
                      <a:pPr algn="l">
                        <a:lnSpc>
                          <a:spcPct val="200000"/>
                        </a:lnSpc>
                        <a:spcAft>
                          <a:spcPts val="0"/>
                        </a:spcAft>
                      </a:pPr>
                      <a:r>
                        <a:rPr lang="es-ES_tradnl" sz="1200" b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</a:rPr>
                        <a:t>Protocolo</a:t>
                      </a:r>
                      <a:endParaRPr lang="es-ES" sz="12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lvl="0"/>
                      <a:r>
                        <a:rPr lang="es-E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oporte los estándares SIP v2</a:t>
                      </a:r>
                      <a:endParaRPr lang="es-E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</a:tr>
              <a:tr h="365760">
                <a:tc>
                  <a:txBody>
                    <a:bodyPr/>
                    <a:lstStyle/>
                    <a:p>
                      <a:pPr algn="l">
                        <a:lnSpc>
                          <a:spcPct val="200000"/>
                        </a:lnSpc>
                        <a:spcAft>
                          <a:spcPts val="0"/>
                        </a:spcAft>
                      </a:pPr>
                      <a:r>
                        <a:rPr lang="es-ES_tradnl" sz="1200" dirty="0" err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WiFi</a:t>
                      </a:r>
                      <a:endParaRPr lang="es-ES" sz="12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200000"/>
                        </a:lnSpc>
                        <a:spcAft>
                          <a:spcPts val="0"/>
                        </a:spcAft>
                      </a:pPr>
                      <a:r>
                        <a:rPr lang="es-E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oporte estándar IEEE 802.11b / g</a:t>
                      </a:r>
                      <a:endParaRPr lang="es-ES" sz="1050" dirty="0"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</a:tr>
              <a:tr h="365760">
                <a:tc>
                  <a:txBody>
                    <a:bodyPr/>
                    <a:lstStyle/>
                    <a:p>
                      <a:pPr algn="l">
                        <a:lnSpc>
                          <a:spcPct val="200000"/>
                        </a:lnSpc>
                        <a:spcAft>
                          <a:spcPts val="0"/>
                        </a:spcAft>
                      </a:pPr>
                      <a:r>
                        <a:rPr lang="es-ES_tradnl" sz="120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Seguridad</a:t>
                      </a:r>
                      <a:endParaRPr lang="es-ES" sz="12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200000"/>
                        </a:lnSpc>
                        <a:spcAft>
                          <a:spcPts val="0"/>
                        </a:spcAft>
                      </a:pPr>
                      <a:r>
                        <a:rPr lang="es-ES_tradnl" sz="1200" dirty="0" smtClean="0">
                          <a:latin typeface="+mn-lt"/>
                          <a:ea typeface="+mn-ea"/>
                        </a:rPr>
                        <a:t>Cifrado WEP, WPA-PSK</a:t>
                      </a:r>
                      <a:endParaRPr lang="es-ES" sz="1200" dirty="0"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</a:tr>
              <a:tr h="365760">
                <a:tc>
                  <a:txBody>
                    <a:bodyPr/>
                    <a:lstStyle/>
                    <a:p>
                      <a:pPr algn="l">
                        <a:lnSpc>
                          <a:spcPct val="200000"/>
                        </a:lnSpc>
                        <a:spcAft>
                          <a:spcPts val="0"/>
                        </a:spcAft>
                      </a:pPr>
                      <a:r>
                        <a:rPr lang="es-ES_tradnl" sz="1200" dirty="0" err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Codecs</a:t>
                      </a:r>
                      <a:endParaRPr lang="es-ES" sz="12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lvl="0"/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.711 (A-law y m</a:t>
                      </a:r>
                      <a:r>
                        <a:rPr lang="es-EC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μ</a:t>
                      </a: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law)</a:t>
                      </a:r>
                      <a:endParaRPr lang="es-ES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s-EC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.729ª</a:t>
                      </a:r>
                      <a:endParaRPr lang="es-ES" sz="1050" dirty="0"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pic>
        <p:nvPicPr>
          <p:cNvPr id="12" name="product_photo" descr="http://www.voiplink.com/v/vspfiles/photos/QuickPhones-QA-342-2.jpg"/>
          <p:cNvPicPr/>
          <p:nvPr/>
        </p:nvPicPr>
        <p:blipFill>
          <a:blip r:embed="rId3" cstate="print"/>
          <a:stretch>
            <a:fillRect/>
          </a:stretch>
        </p:blipFill>
        <p:spPr bwMode="auto">
          <a:xfrm>
            <a:off x="6494851" y="3029562"/>
            <a:ext cx="1618636" cy="1934321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9 CuadroTexto"/>
          <p:cNvSpPr txBox="1"/>
          <p:nvPr/>
        </p:nvSpPr>
        <p:spPr>
          <a:xfrm>
            <a:off x="6325386" y="6353666"/>
            <a:ext cx="258294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s-ES_tradnl" dirty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8667" y="-25563"/>
            <a:ext cx="7091139" cy="688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0" name="1 Título"/>
          <p:cNvSpPr>
            <a:spLocks noGrp="1"/>
          </p:cNvSpPr>
          <p:nvPr>
            <p:ph type="title"/>
          </p:nvPr>
        </p:nvSpPr>
        <p:spPr>
          <a:xfrm>
            <a:off x="314325" y="578757"/>
            <a:ext cx="8515350" cy="600075"/>
          </a:xfrm>
        </p:spPr>
        <p:txBody>
          <a:bodyPr/>
          <a:lstStyle/>
          <a:p>
            <a:r>
              <a:rPr lang="de-DE" sz="5000" b="0" dirty="0" smtClean="0"/>
              <a:t>Hardware</a:t>
            </a:r>
            <a:endParaRPr lang="es-ES" sz="5000" b="0" dirty="0" smtClean="0"/>
          </a:p>
        </p:txBody>
      </p:sp>
      <p:sp>
        <p:nvSpPr>
          <p:cNvPr id="7171" name="3 Marcador de pie de página"/>
          <p:cNvSpPr>
            <a:spLocks noGrp="1"/>
          </p:cNvSpPr>
          <p:nvPr>
            <p:ph type="ftr" sz="quarter" idx="10"/>
          </p:nvPr>
        </p:nvSpPr>
        <p:spPr>
          <a:xfrm>
            <a:off x="276225" y="6408738"/>
            <a:ext cx="3456790" cy="247650"/>
          </a:xfrm>
          <a:noFill/>
        </p:spPr>
        <p:txBody>
          <a:bodyPr/>
          <a:lstStyle/>
          <a:p>
            <a:r>
              <a:rPr lang="de-DE" dirty="0" smtClean="0">
                <a:sym typeface="Wingdings" pitchFamily="2" charset="2"/>
              </a:rPr>
              <a:t>VoIP en zonas rurales usando WiFi   </a:t>
            </a:r>
            <a:r>
              <a:rPr lang="de-DE" dirty="0" smtClean="0">
                <a:latin typeface="Arial" pitchFamily="34" charset="0"/>
                <a:sym typeface="Wingdings" pitchFamily="2" charset="2"/>
              </a:rPr>
              <a:t></a:t>
            </a:r>
            <a:r>
              <a:rPr lang="de-DE" dirty="0" smtClean="0">
                <a:latin typeface="Arial" pitchFamily="34" charset="0"/>
              </a:rPr>
              <a:t>  Pag </a:t>
            </a:r>
            <a:fld id="{9F6DF784-F317-4650-8B2E-AFFFD54B7643}" type="slidenum">
              <a:rPr lang="de-DE" smtClean="0">
                <a:latin typeface="Arial" pitchFamily="34" charset="0"/>
              </a:rPr>
              <a:pPr/>
              <a:t>11</a:t>
            </a:fld>
            <a:endParaRPr lang="de-DE" dirty="0" smtClean="0">
              <a:latin typeface="Arial" pitchFamily="34" charset="0"/>
            </a:endParaRPr>
          </a:p>
        </p:txBody>
      </p:sp>
      <p:sp>
        <p:nvSpPr>
          <p:cNvPr id="9" name="3 Marcador de texto"/>
          <p:cNvSpPr txBox="1">
            <a:spLocks/>
          </p:cNvSpPr>
          <p:nvPr/>
        </p:nvSpPr>
        <p:spPr>
          <a:xfrm>
            <a:off x="841829" y="1483698"/>
            <a:ext cx="7750627" cy="4147835"/>
          </a:xfrm>
          <a:prstGeom prst="rect">
            <a:avLst/>
          </a:prstGeom>
        </p:spPr>
        <p:txBody>
          <a:bodyPr/>
          <a:lstStyle/>
          <a:p>
            <a:pPr marL="190500" marR="0" lvl="0" indent="-190500" algn="l" defTabSz="914400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Char char="ü"/>
              <a:tabLst/>
              <a:defRPr/>
            </a:pPr>
            <a:r>
              <a:rPr kumimoji="0" lang="es-ES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Punto de Acceso</a:t>
            </a:r>
            <a:endParaRPr lang="es-ES" sz="2000" kern="0" dirty="0" smtClean="0">
              <a:latin typeface="+mn-lt"/>
            </a:endParaRPr>
          </a:p>
          <a:p>
            <a:pPr marL="449263" lvl="1">
              <a:spcBef>
                <a:spcPct val="40000"/>
              </a:spcBef>
              <a:buClr>
                <a:schemeClr val="accent1"/>
              </a:buClr>
            </a:pPr>
            <a:r>
              <a:rPr lang="es-ES" kern="0" dirty="0" smtClean="0">
                <a:latin typeface="+mn-lt"/>
              </a:rPr>
              <a:t>Es </a:t>
            </a:r>
            <a:r>
              <a:rPr lang="es-ES" dirty="0" smtClean="0"/>
              <a:t>el </a:t>
            </a:r>
            <a:r>
              <a:rPr lang="es-ES" dirty="0"/>
              <a:t>intermediario entre el usuario y el servidor que otorga el </a:t>
            </a:r>
            <a:r>
              <a:rPr lang="es-ES" dirty="0" smtClean="0"/>
              <a:t>servicio al usar teléfonos IP inalámbricos. </a:t>
            </a:r>
            <a:endParaRPr lang="es-ES" kern="0" dirty="0" smtClean="0">
              <a:latin typeface="+mn-lt"/>
            </a:endParaRPr>
          </a:p>
          <a:p>
            <a:pPr marL="647700" lvl="1" indent="-190500">
              <a:spcBef>
                <a:spcPct val="40000"/>
              </a:spcBef>
              <a:buClr>
                <a:schemeClr val="accent1"/>
              </a:buClr>
            </a:pPr>
            <a:endParaRPr lang="es-ES" kern="0" dirty="0">
              <a:latin typeface="+mn-lt"/>
            </a:endParaRPr>
          </a:p>
          <a:p>
            <a:pPr marL="261938" lvl="1" indent="-87313">
              <a:spcBef>
                <a:spcPct val="40000"/>
              </a:spcBef>
              <a:buClr>
                <a:schemeClr val="accent1"/>
              </a:buClr>
            </a:pPr>
            <a:r>
              <a:rPr lang="es-ES" b="1" kern="0" dirty="0" smtClean="0">
                <a:latin typeface="+mn-lt"/>
              </a:rPr>
              <a:t>Características</a:t>
            </a:r>
          </a:p>
          <a:p>
            <a:pPr marL="647700" lvl="1" indent="-190500">
              <a:spcBef>
                <a:spcPct val="40000"/>
              </a:spcBef>
              <a:buClr>
                <a:schemeClr val="accent1"/>
              </a:buClr>
            </a:pPr>
            <a:endParaRPr kumimoji="0" lang="es-ES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aphicFrame>
        <p:nvGraphicFramePr>
          <p:cNvPr id="7" name="6 Tabla"/>
          <p:cNvGraphicFramePr>
            <a:graphicFrameLocks noGrp="1"/>
          </p:cNvGraphicFramePr>
          <p:nvPr/>
        </p:nvGraphicFramePr>
        <p:xfrm>
          <a:off x="1117599" y="3341919"/>
          <a:ext cx="5573487" cy="1280160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1686181"/>
                <a:gridCol w="3887306"/>
              </a:tblGrid>
              <a:tr h="214314">
                <a:tc>
                  <a:txBody>
                    <a:bodyPr/>
                    <a:lstStyle/>
                    <a:p>
                      <a:pPr algn="l">
                        <a:lnSpc>
                          <a:spcPct val="200000"/>
                        </a:lnSpc>
                        <a:spcAft>
                          <a:spcPts val="0"/>
                        </a:spcAft>
                      </a:pPr>
                      <a:r>
                        <a:rPr lang="es-ES_tradnl" sz="1200" b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</a:rPr>
                        <a:t>Estándares</a:t>
                      </a:r>
                      <a:endParaRPr lang="es-ES" sz="12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lvl="0"/>
                      <a:r>
                        <a:rPr lang="es-E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ersión 802.11n, 802.11a, 802.11g, 802.11b, 802.3, 802.3u, 802.3ab</a:t>
                      </a:r>
                      <a:endParaRPr lang="es-ES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</a:tr>
              <a:tr h="365760">
                <a:tc>
                  <a:txBody>
                    <a:bodyPr/>
                    <a:lstStyle/>
                    <a:p>
                      <a:pPr algn="l">
                        <a:lnSpc>
                          <a:spcPct val="200000"/>
                        </a:lnSpc>
                        <a:spcAft>
                          <a:spcPts val="0"/>
                        </a:spcAft>
                      </a:pPr>
                      <a:r>
                        <a:rPr lang="es-ES_tradnl" sz="120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uertos</a:t>
                      </a:r>
                      <a:endParaRPr lang="es-ES" sz="12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200000"/>
                        </a:lnSpc>
                        <a:spcAft>
                          <a:spcPts val="0"/>
                        </a:spcAft>
                      </a:pPr>
                      <a:r>
                        <a:rPr lang="es-E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limentación, Ethernet, Internet, USB</a:t>
                      </a:r>
                      <a:endParaRPr lang="es-ES" sz="900" dirty="0"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</a:tr>
              <a:tr h="365760">
                <a:tc>
                  <a:txBody>
                    <a:bodyPr/>
                    <a:lstStyle/>
                    <a:p>
                      <a:pPr algn="l">
                        <a:lnSpc>
                          <a:spcPct val="200000"/>
                        </a:lnSpc>
                        <a:spcAft>
                          <a:spcPts val="0"/>
                        </a:spcAft>
                      </a:pPr>
                      <a:r>
                        <a:rPr lang="es-ES_tradnl" sz="120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Seguridad</a:t>
                      </a:r>
                      <a:endParaRPr lang="es-ES" sz="12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200000"/>
                        </a:lnSpc>
                        <a:spcAft>
                          <a:spcPts val="0"/>
                        </a:spcAft>
                      </a:pPr>
                      <a:r>
                        <a:rPr lang="es-E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EP, WPA, WPA2, RADIUS, Firewall SPI</a:t>
                      </a:r>
                      <a:endParaRPr lang="es-ES" sz="1050" dirty="0"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pic>
        <p:nvPicPr>
          <p:cNvPr id="10" name="il_fi" descr="http://tecnomagazine.net/images/linksys-wrt610n.jp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756213" y="3103848"/>
            <a:ext cx="1930774" cy="16082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10 CuadroTexto"/>
          <p:cNvSpPr txBox="1"/>
          <p:nvPr/>
        </p:nvSpPr>
        <p:spPr>
          <a:xfrm>
            <a:off x="6325386" y="6353666"/>
            <a:ext cx="258294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s-ES_tradnl" dirty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2210" y="-199734"/>
            <a:ext cx="7091139" cy="688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0" name="1 Título"/>
          <p:cNvSpPr>
            <a:spLocks noGrp="1"/>
          </p:cNvSpPr>
          <p:nvPr>
            <p:ph type="title"/>
          </p:nvPr>
        </p:nvSpPr>
        <p:spPr>
          <a:xfrm>
            <a:off x="314325" y="578757"/>
            <a:ext cx="8515350" cy="600075"/>
          </a:xfrm>
        </p:spPr>
        <p:txBody>
          <a:bodyPr/>
          <a:lstStyle/>
          <a:p>
            <a:r>
              <a:rPr lang="de-DE" sz="5000" b="0" dirty="0" smtClean="0"/>
              <a:t>Software</a:t>
            </a:r>
            <a:endParaRPr lang="es-ES" sz="5000" b="0" dirty="0" smtClean="0"/>
          </a:p>
        </p:txBody>
      </p:sp>
      <p:sp>
        <p:nvSpPr>
          <p:cNvPr id="7171" name="3 Marcador de pie de página"/>
          <p:cNvSpPr>
            <a:spLocks noGrp="1"/>
          </p:cNvSpPr>
          <p:nvPr>
            <p:ph type="ftr" sz="quarter" idx="10"/>
          </p:nvPr>
        </p:nvSpPr>
        <p:spPr>
          <a:xfrm>
            <a:off x="276225" y="6408738"/>
            <a:ext cx="3626472" cy="247650"/>
          </a:xfrm>
          <a:noFill/>
        </p:spPr>
        <p:txBody>
          <a:bodyPr/>
          <a:lstStyle/>
          <a:p>
            <a:r>
              <a:rPr lang="de-DE" dirty="0" smtClean="0">
                <a:sym typeface="Wingdings" pitchFamily="2" charset="2"/>
              </a:rPr>
              <a:t>VoIP en zonas rurales usando WiFi   </a:t>
            </a:r>
            <a:r>
              <a:rPr lang="de-DE" dirty="0" smtClean="0">
                <a:latin typeface="Arial" pitchFamily="34" charset="0"/>
                <a:sym typeface="Wingdings" pitchFamily="2" charset="2"/>
              </a:rPr>
              <a:t></a:t>
            </a:r>
            <a:r>
              <a:rPr lang="de-DE" dirty="0" smtClean="0">
                <a:latin typeface="Arial" pitchFamily="34" charset="0"/>
              </a:rPr>
              <a:t>  Pag </a:t>
            </a:r>
            <a:fld id="{9F6DF784-F317-4650-8B2E-AFFFD54B7643}" type="slidenum">
              <a:rPr lang="de-DE" smtClean="0">
                <a:latin typeface="Arial" pitchFamily="34" charset="0"/>
              </a:rPr>
              <a:pPr/>
              <a:t>12</a:t>
            </a:fld>
            <a:endParaRPr lang="de-DE" dirty="0" smtClean="0">
              <a:latin typeface="Arial" pitchFamily="34" charset="0"/>
            </a:endParaRPr>
          </a:p>
        </p:txBody>
      </p:sp>
      <p:sp>
        <p:nvSpPr>
          <p:cNvPr id="9" name="3 Marcador de texto"/>
          <p:cNvSpPr txBox="1">
            <a:spLocks/>
          </p:cNvSpPr>
          <p:nvPr/>
        </p:nvSpPr>
        <p:spPr>
          <a:xfrm>
            <a:off x="841830" y="1541754"/>
            <a:ext cx="7344228" cy="4147835"/>
          </a:xfrm>
          <a:prstGeom prst="rect">
            <a:avLst/>
          </a:prstGeom>
        </p:spPr>
        <p:txBody>
          <a:bodyPr/>
          <a:lstStyle/>
          <a:p>
            <a:pPr marL="363538" indent="-363538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ü"/>
            </a:pPr>
            <a:endParaRPr lang="es-ES" kern="0" dirty="0" smtClean="0">
              <a:latin typeface="+mn-lt"/>
            </a:endParaRPr>
          </a:p>
          <a:p>
            <a:pPr marL="363538" indent="-363538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ü"/>
            </a:pPr>
            <a:r>
              <a:rPr lang="es-ES" kern="0" dirty="0" smtClean="0">
                <a:latin typeface="+mn-lt"/>
              </a:rPr>
              <a:t>U</a:t>
            </a:r>
            <a:r>
              <a:rPr lang="es-EC" dirty="0" err="1" smtClean="0"/>
              <a:t>na</a:t>
            </a:r>
            <a:r>
              <a:rPr lang="es-EC" dirty="0" smtClean="0"/>
              <a:t> </a:t>
            </a:r>
            <a:r>
              <a:rPr lang="es-EC" dirty="0"/>
              <a:t>solución informática no sólo se conforma de elementos físicos, sino también de elementos lógicos; y es en este contexto </a:t>
            </a:r>
            <a:r>
              <a:rPr lang="es-EC" dirty="0" smtClean="0"/>
              <a:t>que utilizaremos </a:t>
            </a:r>
            <a:r>
              <a:rPr lang="es-EC" dirty="0"/>
              <a:t>como sistema operativo base </a:t>
            </a:r>
            <a:r>
              <a:rPr lang="es-EC" b="1" dirty="0"/>
              <a:t>Linux </a:t>
            </a:r>
            <a:r>
              <a:rPr lang="es-EC" b="1" dirty="0" err="1"/>
              <a:t>CentOS</a:t>
            </a:r>
            <a:r>
              <a:rPr lang="es-EC" b="1" dirty="0"/>
              <a:t> 5.3 </a:t>
            </a:r>
            <a:r>
              <a:rPr lang="es-EC" dirty="0" smtClean="0"/>
              <a:t>y </a:t>
            </a:r>
            <a:r>
              <a:rPr lang="es-EC" b="1" dirty="0" err="1" smtClean="0"/>
              <a:t>Asterisk</a:t>
            </a:r>
            <a:r>
              <a:rPr lang="es-EC" b="1" dirty="0" smtClean="0"/>
              <a:t> 1.4.13</a:t>
            </a:r>
            <a:r>
              <a:rPr lang="es-EC" dirty="0" smtClean="0"/>
              <a:t> </a:t>
            </a:r>
            <a:r>
              <a:rPr lang="es-EC" dirty="0"/>
              <a:t>como el software de central telefónica.</a:t>
            </a:r>
            <a:endParaRPr lang="es-ES" dirty="0"/>
          </a:p>
          <a:p>
            <a:pPr marL="190500" marR="0" lvl="0" indent="-190500" algn="l" defTabSz="914400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Char char="ü"/>
              <a:tabLst/>
              <a:defRPr/>
            </a:pPr>
            <a:endParaRPr kumimoji="0" lang="es-ES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90500" marR="0" lvl="0" indent="-190500" algn="l" defTabSz="914400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Char char="ü"/>
              <a:tabLst/>
              <a:defRPr/>
            </a:pPr>
            <a:endParaRPr kumimoji="0" lang="es-ES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63538" marR="0" lvl="0" indent="-363538" algn="l" defTabSz="914400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Char char="ü"/>
              <a:tabLst/>
              <a:defRPr/>
            </a:pPr>
            <a:r>
              <a:rPr lang="es-ES" kern="0" dirty="0" smtClean="0">
                <a:latin typeface="+mn-lt"/>
              </a:rPr>
              <a:t>La escalabilidad que presenta este proyecto permite agregar más de una central </a:t>
            </a:r>
            <a:r>
              <a:rPr lang="es-ES" kern="0" dirty="0" err="1" smtClean="0">
                <a:latin typeface="+mn-lt"/>
              </a:rPr>
              <a:t>teléfonica</a:t>
            </a:r>
            <a:r>
              <a:rPr lang="es-ES" kern="0" dirty="0" smtClean="0">
                <a:latin typeface="+mn-lt"/>
              </a:rPr>
              <a:t> IP al esquema de red por medio del uso del protocolo </a:t>
            </a:r>
            <a:r>
              <a:rPr lang="es-ES" b="1" kern="0" dirty="0" smtClean="0">
                <a:latin typeface="+mn-lt"/>
              </a:rPr>
              <a:t>DUNDI</a:t>
            </a:r>
            <a:r>
              <a:rPr lang="es-ES" kern="0" dirty="0" smtClean="0">
                <a:latin typeface="+mn-lt"/>
              </a:rPr>
              <a:t> que se configurará en el servidor </a:t>
            </a:r>
            <a:r>
              <a:rPr lang="es-ES" kern="0" dirty="0" err="1" smtClean="0">
                <a:latin typeface="+mn-lt"/>
              </a:rPr>
              <a:t>Asterisk</a:t>
            </a:r>
            <a:r>
              <a:rPr lang="es-ES" kern="0" dirty="0" smtClean="0">
                <a:latin typeface="+mn-lt"/>
              </a:rPr>
              <a:t>.</a:t>
            </a:r>
            <a:endParaRPr kumimoji="0" lang="es-ES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6325386" y="6353666"/>
            <a:ext cx="258294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s-ES_tradnl" dirty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2210" y="-199734"/>
            <a:ext cx="7091139" cy="688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0" name="1 Título"/>
          <p:cNvSpPr>
            <a:spLocks noGrp="1"/>
          </p:cNvSpPr>
          <p:nvPr>
            <p:ph type="title"/>
          </p:nvPr>
        </p:nvSpPr>
        <p:spPr>
          <a:xfrm>
            <a:off x="314325" y="578757"/>
            <a:ext cx="8515350" cy="600075"/>
          </a:xfrm>
        </p:spPr>
        <p:txBody>
          <a:bodyPr/>
          <a:lstStyle/>
          <a:p>
            <a:r>
              <a:rPr lang="de-DE" sz="5000" b="0" dirty="0" smtClean="0"/>
              <a:t>Configuración Asterisk</a:t>
            </a:r>
            <a:endParaRPr lang="es-ES" sz="5000" b="0" dirty="0" smtClean="0"/>
          </a:p>
        </p:txBody>
      </p:sp>
      <p:sp>
        <p:nvSpPr>
          <p:cNvPr id="7171" name="3 Marcador de pie de página"/>
          <p:cNvSpPr>
            <a:spLocks noGrp="1"/>
          </p:cNvSpPr>
          <p:nvPr>
            <p:ph type="ftr" sz="quarter" idx="10"/>
          </p:nvPr>
        </p:nvSpPr>
        <p:spPr>
          <a:xfrm>
            <a:off x="276224" y="6408738"/>
            <a:ext cx="3871569" cy="247650"/>
          </a:xfrm>
          <a:noFill/>
        </p:spPr>
        <p:txBody>
          <a:bodyPr/>
          <a:lstStyle/>
          <a:p>
            <a:r>
              <a:rPr lang="de-DE" dirty="0" smtClean="0">
                <a:sym typeface="Wingdings" pitchFamily="2" charset="2"/>
              </a:rPr>
              <a:t>VoIP en zonas rurales usando WiFi   </a:t>
            </a:r>
            <a:r>
              <a:rPr lang="de-DE" dirty="0" smtClean="0">
                <a:latin typeface="Arial" pitchFamily="34" charset="0"/>
                <a:sym typeface="Wingdings" pitchFamily="2" charset="2"/>
              </a:rPr>
              <a:t></a:t>
            </a:r>
            <a:r>
              <a:rPr lang="de-DE" dirty="0" smtClean="0">
                <a:latin typeface="Arial" pitchFamily="34" charset="0"/>
              </a:rPr>
              <a:t>  Pag </a:t>
            </a:r>
            <a:fld id="{9F6DF784-F317-4650-8B2E-AFFFD54B7643}" type="slidenum">
              <a:rPr lang="de-DE" smtClean="0">
                <a:latin typeface="Arial" pitchFamily="34" charset="0"/>
              </a:rPr>
              <a:pPr/>
              <a:t>13</a:t>
            </a:fld>
            <a:endParaRPr lang="de-DE" dirty="0" smtClean="0">
              <a:latin typeface="Arial" pitchFamily="34" charset="0"/>
            </a:endParaRPr>
          </a:p>
        </p:txBody>
      </p:sp>
      <p:sp>
        <p:nvSpPr>
          <p:cNvPr id="9" name="3 Marcador de texto"/>
          <p:cNvSpPr txBox="1">
            <a:spLocks/>
          </p:cNvSpPr>
          <p:nvPr/>
        </p:nvSpPr>
        <p:spPr>
          <a:xfrm>
            <a:off x="2341561" y="2340993"/>
            <a:ext cx="2888341" cy="2071350"/>
          </a:xfrm>
          <a:prstGeom prst="rect">
            <a:avLst/>
          </a:prstGeom>
        </p:spPr>
        <p:txBody>
          <a:bodyPr/>
          <a:lstStyle/>
          <a:p>
            <a:pPr marL="363538" indent="-363538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ü"/>
            </a:pPr>
            <a:r>
              <a:rPr kumimoji="0" lang="es-ES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IP.CONF</a:t>
            </a:r>
          </a:p>
          <a:p>
            <a:pPr marL="363538" indent="-363538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ü"/>
            </a:pPr>
            <a:r>
              <a:rPr lang="es-ES" b="1" kern="0" dirty="0" smtClean="0">
                <a:latin typeface="+mn-lt"/>
              </a:rPr>
              <a:t>IAX.CONF</a:t>
            </a:r>
            <a:endParaRPr lang="es-ES" b="1" kern="0" dirty="0"/>
          </a:p>
          <a:p>
            <a:pPr marL="363538" indent="-363538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ü"/>
            </a:pPr>
            <a:r>
              <a:rPr lang="es-ES" b="1" kern="0" dirty="0" smtClean="0">
                <a:latin typeface="+mn-lt"/>
              </a:rPr>
              <a:t>EXTENSIONS.CONF</a:t>
            </a:r>
          </a:p>
          <a:p>
            <a:pPr marL="363538" indent="-363538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ü"/>
            </a:pPr>
            <a:r>
              <a:rPr lang="es-ES" b="1" kern="0" dirty="0" smtClean="0">
                <a:latin typeface="+mn-lt"/>
              </a:rPr>
              <a:t>DUNDI.CONF</a:t>
            </a:r>
          </a:p>
          <a:p>
            <a:pPr marL="363538" indent="-363538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ü"/>
            </a:pPr>
            <a:r>
              <a:rPr lang="es-ES" b="1" kern="0" dirty="0" smtClean="0">
                <a:latin typeface="+mn-lt"/>
              </a:rPr>
              <a:t>VOICEMAIL.CONF</a:t>
            </a:r>
          </a:p>
          <a:p>
            <a:pPr marL="363538" indent="-363538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ü"/>
            </a:pPr>
            <a:endParaRPr kumimoji="0" lang="es-ES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3072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576342" y="2485220"/>
            <a:ext cx="1828800" cy="11144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</p:pic>
      <p:sp>
        <p:nvSpPr>
          <p:cNvPr id="7" name="6 CuadroTexto"/>
          <p:cNvSpPr txBox="1"/>
          <p:nvPr/>
        </p:nvSpPr>
        <p:spPr>
          <a:xfrm>
            <a:off x="6325386" y="6353666"/>
            <a:ext cx="258294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s-ES_tradnl" dirty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2210" y="10126"/>
            <a:ext cx="7091139" cy="688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0" name="1 Título"/>
          <p:cNvSpPr>
            <a:spLocks noGrp="1"/>
          </p:cNvSpPr>
          <p:nvPr>
            <p:ph type="title"/>
          </p:nvPr>
        </p:nvSpPr>
        <p:spPr>
          <a:xfrm>
            <a:off x="314325" y="413867"/>
            <a:ext cx="8515350" cy="600075"/>
          </a:xfrm>
        </p:spPr>
        <p:txBody>
          <a:bodyPr/>
          <a:lstStyle/>
          <a:p>
            <a:r>
              <a:rPr lang="de-DE" sz="5000" b="0" dirty="0" smtClean="0"/>
              <a:t>SIP.CONF</a:t>
            </a:r>
            <a:endParaRPr lang="es-ES" sz="5000" b="0" dirty="0" smtClean="0"/>
          </a:p>
        </p:txBody>
      </p:sp>
      <p:sp>
        <p:nvSpPr>
          <p:cNvPr id="7171" name="3 Marcador de pie de página"/>
          <p:cNvSpPr>
            <a:spLocks noGrp="1"/>
          </p:cNvSpPr>
          <p:nvPr>
            <p:ph type="ftr" sz="quarter" idx="10"/>
          </p:nvPr>
        </p:nvSpPr>
        <p:spPr>
          <a:xfrm>
            <a:off x="276224" y="6408738"/>
            <a:ext cx="3758447" cy="247650"/>
          </a:xfrm>
          <a:noFill/>
        </p:spPr>
        <p:txBody>
          <a:bodyPr/>
          <a:lstStyle/>
          <a:p>
            <a:r>
              <a:rPr lang="de-DE" dirty="0" smtClean="0">
                <a:sym typeface="Wingdings" pitchFamily="2" charset="2"/>
              </a:rPr>
              <a:t>VoIP en zonas rurales usando WiFi   </a:t>
            </a:r>
            <a:r>
              <a:rPr lang="de-DE" dirty="0" smtClean="0">
                <a:latin typeface="Arial" pitchFamily="34" charset="0"/>
                <a:sym typeface="Wingdings" pitchFamily="2" charset="2"/>
              </a:rPr>
              <a:t></a:t>
            </a:r>
            <a:r>
              <a:rPr lang="de-DE" dirty="0" smtClean="0">
                <a:latin typeface="Arial" pitchFamily="34" charset="0"/>
              </a:rPr>
              <a:t>  Pag </a:t>
            </a:r>
            <a:fld id="{9F6DF784-F317-4650-8B2E-AFFFD54B7643}" type="slidenum">
              <a:rPr lang="de-DE" smtClean="0">
                <a:latin typeface="Arial" pitchFamily="34" charset="0"/>
              </a:rPr>
              <a:pPr/>
              <a:t>14</a:t>
            </a:fld>
            <a:endParaRPr lang="de-DE" dirty="0" smtClean="0">
              <a:latin typeface="Arial" pitchFamily="34" charset="0"/>
            </a:endParaRPr>
          </a:p>
        </p:txBody>
      </p:sp>
      <p:sp>
        <p:nvSpPr>
          <p:cNvPr id="9" name="3 Marcador de texto"/>
          <p:cNvSpPr txBox="1">
            <a:spLocks/>
          </p:cNvSpPr>
          <p:nvPr/>
        </p:nvSpPr>
        <p:spPr>
          <a:xfrm>
            <a:off x="359765" y="1259174"/>
            <a:ext cx="7629994" cy="494675"/>
          </a:xfrm>
          <a:prstGeom prst="rect">
            <a:avLst/>
          </a:prstGeom>
        </p:spPr>
        <p:txBody>
          <a:bodyPr/>
          <a:lstStyle/>
          <a:p>
            <a:pPr marL="363538" indent="-363538" algn="just">
              <a:spcBef>
                <a:spcPct val="40000"/>
              </a:spcBef>
              <a:buClr>
                <a:schemeClr val="accent1"/>
              </a:buClr>
            </a:pPr>
            <a:r>
              <a:rPr lang="es-ES_tradnl" dirty="0" smtClean="0"/>
              <a:t>Configuración </a:t>
            </a:r>
            <a:r>
              <a:rPr lang="es-ES_tradnl" dirty="0"/>
              <a:t>de las extensiones que utilizaran el protocolo SIP.</a:t>
            </a:r>
          </a:p>
          <a:p>
            <a:pPr marL="363538" indent="-363538" algn="just">
              <a:spcBef>
                <a:spcPct val="40000"/>
              </a:spcBef>
              <a:buClr>
                <a:schemeClr val="accent1"/>
              </a:buClr>
            </a:pPr>
            <a:endParaRPr kumimoji="0" lang="es-ES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aphicFrame>
        <p:nvGraphicFramePr>
          <p:cNvPr id="7" name="6 Tabla"/>
          <p:cNvGraphicFramePr>
            <a:graphicFrameLocks noGrp="1"/>
          </p:cNvGraphicFramePr>
          <p:nvPr/>
        </p:nvGraphicFramePr>
        <p:xfrm>
          <a:off x="3307157" y="1913503"/>
          <a:ext cx="2633663" cy="2071624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1234863"/>
                <a:gridCol w="1398800"/>
              </a:tblGrid>
              <a:tr h="336550"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100" b="1" dirty="0"/>
                        <a:t>CONFIGURACIÓN </a:t>
                      </a:r>
                      <a:r>
                        <a:rPr lang="es-ES" sz="1100" b="1" dirty="0" smtClean="0"/>
                        <a:t>EN </a:t>
                      </a:r>
                      <a:r>
                        <a:rPr lang="es-ES" sz="1100" b="1" dirty="0"/>
                        <a:t>ZONA URBANA</a:t>
                      </a:r>
                      <a:endParaRPr lang="es-ES" sz="11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</a:tr>
              <a:tr h="153670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s-ES" sz="1100" dirty="0"/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/>
                        <a:t>[</a:t>
                      </a:r>
                      <a:r>
                        <a:rPr lang="en-US" sz="1100" dirty="0" err="1"/>
                        <a:t>administracion</a:t>
                      </a:r>
                      <a:r>
                        <a:rPr lang="en-US" sz="1100" dirty="0"/>
                        <a:t>]</a:t>
                      </a:r>
                      <a:endParaRPr lang="es-ES" sz="1100" dirty="0"/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/>
                        <a:t>type=friend</a:t>
                      </a:r>
                      <a:endParaRPr lang="es-ES" sz="1100" dirty="0"/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/>
                        <a:t>secret=welcome</a:t>
                      </a:r>
                      <a:endParaRPr lang="es-ES" sz="1100" dirty="0"/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/>
                        <a:t>qualify=yes</a:t>
                      </a:r>
                      <a:endParaRPr lang="es-ES" sz="1100" dirty="0"/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/>
                        <a:t>nat</a:t>
                      </a:r>
                      <a:r>
                        <a:rPr lang="en-US" sz="1100" dirty="0"/>
                        <a:t>=no</a:t>
                      </a:r>
                      <a:endParaRPr lang="es-ES" sz="1100" dirty="0"/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/>
                        <a:t>host=dynamic</a:t>
                      </a:r>
                      <a:endParaRPr lang="es-ES" sz="1100" dirty="0"/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/>
                        <a:t>canreinvite</a:t>
                      </a:r>
                      <a:r>
                        <a:rPr lang="en-US" sz="1100" dirty="0"/>
                        <a:t>=no</a:t>
                      </a:r>
                      <a:endParaRPr lang="es-ES" sz="1100" dirty="0"/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/>
                        <a:t>context=internal</a:t>
                      </a:r>
                      <a:endParaRPr lang="es-ES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s-ES" sz="1100" dirty="0"/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/>
                        <a:t>[</a:t>
                      </a:r>
                      <a:r>
                        <a:rPr lang="en-US" sz="1100" dirty="0" err="1"/>
                        <a:t>recepcion</a:t>
                      </a:r>
                      <a:r>
                        <a:rPr lang="en-US" sz="1100" dirty="0"/>
                        <a:t>]</a:t>
                      </a:r>
                      <a:endParaRPr lang="es-ES" sz="1100" dirty="0"/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/>
                        <a:t>type=friend</a:t>
                      </a:r>
                      <a:endParaRPr lang="es-ES" sz="1100" dirty="0"/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/>
                        <a:t>secret=welcome</a:t>
                      </a:r>
                      <a:endParaRPr lang="es-ES" sz="1100" dirty="0"/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/>
                        <a:t>qualify=yes</a:t>
                      </a:r>
                      <a:endParaRPr lang="es-ES" sz="1100" dirty="0"/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/>
                        <a:t>nat</a:t>
                      </a:r>
                      <a:r>
                        <a:rPr lang="en-US" sz="1100" dirty="0"/>
                        <a:t>=no</a:t>
                      </a:r>
                      <a:endParaRPr lang="es-ES" sz="1100" dirty="0"/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/>
                        <a:t>host=dynamic</a:t>
                      </a:r>
                      <a:endParaRPr lang="es-ES" sz="1100" dirty="0"/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/>
                        <a:t>canreinvite</a:t>
                      </a:r>
                      <a:r>
                        <a:rPr lang="en-US" sz="1100" dirty="0"/>
                        <a:t>=no</a:t>
                      </a:r>
                      <a:endParaRPr lang="es-ES" sz="1100" dirty="0"/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C" sz="1100" dirty="0" err="1"/>
                        <a:t>context</a:t>
                      </a:r>
                      <a:r>
                        <a:rPr lang="es-EC" sz="1100" dirty="0"/>
                        <a:t>=</a:t>
                      </a:r>
                      <a:r>
                        <a:rPr lang="es-EC" sz="1100" dirty="0" err="1"/>
                        <a:t>internal</a:t>
                      </a:r>
                      <a:endParaRPr lang="es-ES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/>
                </a:tc>
              </a:tr>
            </a:tbl>
          </a:graphicData>
        </a:graphic>
      </p:graphicFrame>
      <p:graphicFrame>
        <p:nvGraphicFramePr>
          <p:cNvPr id="10" name="9 Tabla"/>
          <p:cNvGraphicFramePr>
            <a:graphicFrameLocks noGrp="1"/>
          </p:cNvGraphicFramePr>
          <p:nvPr/>
        </p:nvGraphicFramePr>
        <p:xfrm>
          <a:off x="2412230" y="4224813"/>
          <a:ext cx="4259580" cy="1844504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1435735"/>
                <a:gridCol w="1397000"/>
                <a:gridCol w="1426845"/>
              </a:tblGrid>
              <a:tr h="302216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100" b="1" dirty="0" smtClean="0"/>
                        <a:t>CONFIGURACIÓN </a:t>
                      </a:r>
                      <a:r>
                        <a:rPr lang="es-ES" sz="1100" b="1" dirty="0"/>
                        <a:t>EN ZONA RURAL</a:t>
                      </a:r>
                      <a:endParaRPr lang="es-ES" sz="11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</a:tr>
              <a:tr h="143129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/>
                        <a:t>[</a:t>
                      </a:r>
                      <a:r>
                        <a:rPr lang="en-US" sz="1100" dirty="0" err="1"/>
                        <a:t>david</a:t>
                      </a:r>
                      <a:r>
                        <a:rPr lang="en-US" sz="1100" dirty="0"/>
                        <a:t>]</a:t>
                      </a:r>
                      <a:endParaRPr lang="es-ES" sz="1100" dirty="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/>
                        <a:t>type=friend</a:t>
                      </a:r>
                      <a:endParaRPr lang="es-ES" sz="1100" dirty="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/>
                        <a:t>secret=1234</a:t>
                      </a:r>
                      <a:endParaRPr lang="es-ES" sz="1100" dirty="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/>
                        <a:t>qualify=yes</a:t>
                      </a:r>
                      <a:endParaRPr lang="es-ES" sz="1100" dirty="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/>
                        <a:t>nat</a:t>
                      </a:r>
                      <a:r>
                        <a:rPr lang="en-US" sz="1100" dirty="0"/>
                        <a:t>=no</a:t>
                      </a:r>
                      <a:endParaRPr lang="es-ES" sz="1100" dirty="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/>
                        <a:t>host=dynamic</a:t>
                      </a:r>
                      <a:endParaRPr lang="es-ES" sz="1100" dirty="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/>
                        <a:t>canreinvite</a:t>
                      </a:r>
                      <a:r>
                        <a:rPr lang="en-US" sz="1100" dirty="0"/>
                        <a:t>=no</a:t>
                      </a:r>
                      <a:endParaRPr lang="es-ES" sz="1100" dirty="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C" sz="1100" dirty="0" err="1"/>
                        <a:t>context</a:t>
                      </a:r>
                      <a:r>
                        <a:rPr lang="es-EC" sz="1100" dirty="0"/>
                        <a:t>=</a:t>
                      </a:r>
                      <a:r>
                        <a:rPr lang="es-EC" sz="1100" dirty="0" err="1"/>
                        <a:t>internal</a:t>
                      </a:r>
                      <a:endParaRPr lang="es-ES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/>
                        <a:t>[gabriel]</a:t>
                      </a:r>
                      <a:endParaRPr lang="es-ES" sz="110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/>
                        <a:t>type=friend</a:t>
                      </a:r>
                      <a:endParaRPr lang="es-ES" sz="110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/>
                        <a:t>secret=1234</a:t>
                      </a:r>
                      <a:endParaRPr lang="es-ES" sz="110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/>
                        <a:t>qualify=yes</a:t>
                      </a:r>
                      <a:endParaRPr lang="es-ES" sz="110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/>
                        <a:t>nat=no</a:t>
                      </a:r>
                      <a:endParaRPr lang="es-ES" sz="110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/>
                        <a:t>host=dynamic</a:t>
                      </a:r>
                      <a:endParaRPr lang="es-ES" sz="110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/>
                        <a:t>canreinvite=no</a:t>
                      </a:r>
                      <a:endParaRPr lang="es-ES" sz="110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C" sz="1100"/>
                        <a:t>context=internal</a:t>
                      </a:r>
                      <a:endParaRPr lang="es-ES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/>
                        <a:t>[angel]</a:t>
                      </a:r>
                      <a:endParaRPr lang="es-ES" sz="1100" dirty="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/>
                        <a:t>type=friend</a:t>
                      </a:r>
                      <a:endParaRPr lang="es-ES" sz="1100" dirty="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/>
                        <a:t>secret=1234</a:t>
                      </a:r>
                      <a:endParaRPr lang="es-ES" sz="1100" dirty="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/>
                        <a:t>qualify=yes</a:t>
                      </a:r>
                      <a:endParaRPr lang="es-ES" sz="1100" dirty="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/>
                        <a:t>nat</a:t>
                      </a:r>
                      <a:r>
                        <a:rPr lang="en-US" sz="1100" dirty="0"/>
                        <a:t>=no</a:t>
                      </a:r>
                      <a:endParaRPr lang="es-ES" sz="1100" dirty="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/>
                        <a:t>host=dynamic</a:t>
                      </a:r>
                      <a:endParaRPr lang="es-ES" sz="1100" dirty="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 err="1"/>
                        <a:t>canreinvite</a:t>
                      </a:r>
                      <a:r>
                        <a:rPr lang="en-US" sz="1100" dirty="0"/>
                        <a:t>=no</a:t>
                      </a:r>
                      <a:endParaRPr lang="es-ES" sz="1100" dirty="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C" sz="1100" dirty="0" err="1"/>
                        <a:t>context</a:t>
                      </a:r>
                      <a:r>
                        <a:rPr lang="es-EC" sz="1100" dirty="0"/>
                        <a:t>=</a:t>
                      </a:r>
                      <a:r>
                        <a:rPr lang="es-EC" sz="1100" dirty="0" err="1"/>
                        <a:t>internal</a:t>
                      </a:r>
                      <a:endParaRPr lang="es-ES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/>
                </a:tc>
              </a:tr>
            </a:tbl>
          </a:graphicData>
        </a:graphic>
      </p:graphicFrame>
      <p:sp>
        <p:nvSpPr>
          <p:cNvPr id="11" name="10 CuadroTexto"/>
          <p:cNvSpPr txBox="1"/>
          <p:nvPr/>
        </p:nvSpPr>
        <p:spPr>
          <a:xfrm>
            <a:off x="6325386" y="6353666"/>
            <a:ext cx="258294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s-ES_tradnl" dirty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2210" y="10126"/>
            <a:ext cx="7091139" cy="688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0" name="1 Título"/>
          <p:cNvSpPr>
            <a:spLocks noGrp="1"/>
          </p:cNvSpPr>
          <p:nvPr>
            <p:ph type="title"/>
          </p:nvPr>
        </p:nvSpPr>
        <p:spPr>
          <a:xfrm>
            <a:off x="314325" y="413867"/>
            <a:ext cx="8515350" cy="600075"/>
          </a:xfrm>
        </p:spPr>
        <p:txBody>
          <a:bodyPr/>
          <a:lstStyle/>
          <a:p>
            <a:r>
              <a:rPr lang="de-DE" sz="5000" b="0" dirty="0" smtClean="0"/>
              <a:t>IAX.CONF</a:t>
            </a:r>
            <a:endParaRPr lang="es-ES" sz="5000" b="0" dirty="0" smtClean="0"/>
          </a:p>
        </p:txBody>
      </p:sp>
      <p:sp>
        <p:nvSpPr>
          <p:cNvPr id="7171" name="3 Marcador de pie de página"/>
          <p:cNvSpPr>
            <a:spLocks noGrp="1"/>
          </p:cNvSpPr>
          <p:nvPr>
            <p:ph type="ftr" sz="quarter" idx="10"/>
          </p:nvPr>
        </p:nvSpPr>
        <p:spPr>
          <a:xfrm>
            <a:off x="276224" y="6408738"/>
            <a:ext cx="3918703" cy="247650"/>
          </a:xfrm>
          <a:noFill/>
        </p:spPr>
        <p:txBody>
          <a:bodyPr/>
          <a:lstStyle/>
          <a:p>
            <a:r>
              <a:rPr lang="de-DE" dirty="0" smtClean="0">
                <a:sym typeface="Wingdings" pitchFamily="2" charset="2"/>
              </a:rPr>
              <a:t>VoIP en zonas rurales usando WiFi   </a:t>
            </a:r>
            <a:r>
              <a:rPr lang="de-DE" dirty="0" smtClean="0">
                <a:latin typeface="Arial" pitchFamily="34" charset="0"/>
                <a:sym typeface="Wingdings" pitchFamily="2" charset="2"/>
              </a:rPr>
              <a:t></a:t>
            </a:r>
            <a:r>
              <a:rPr lang="de-DE" dirty="0" smtClean="0">
                <a:latin typeface="Arial" pitchFamily="34" charset="0"/>
              </a:rPr>
              <a:t>  Pag </a:t>
            </a:r>
            <a:fld id="{9F6DF784-F317-4650-8B2E-AFFFD54B7643}" type="slidenum">
              <a:rPr lang="de-DE" smtClean="0">
                <a:latin typeface="Arial" pitchFamily="34" charset="0"/>
              </a:rPr>
              <a:pPr/>
              <a:t>15</a:t>
            </a:fld>
            <a:endParaRPr lang="de-DE" dirty="0" smtClean="0">
              <a:latin typeface="Arial" pitchFamily="34" charset="0"/>
            </a:endParaRPr>
          </a:p>
        </p:txBody>
      </p:sp>
      <p:sp>
        <p:nvSpPr>
          <p:cNvPr id="9" name="3 Marcador de texto"/>
          <p:cNvSpPr txBox="1">
            <a:spLocks/>
          </p:cNvSpPr>
          <p:nvPr/>
        </p:nvSpPr>
        <p:spPr>
          <a:xfrm>
            <a:off x="359765" y="1259174"/>
            <a:ext cx="7629994" cy="494675"/>
          </a:xfrm>
          <a:prstGeom prst="rect">
            <a:avLst/>
          </a:prstGeom>
        </p:spPr>
        <p:txBody>
          <a:bodyPr/>
          <a:lstStyle/>
          <a:p>
            <a:pPr marL="363538" indent="-363538" algn="just">
              <a:spcBef>
                <a:spcPct val="40000"/>
              </a:spcBef>
              <a:buClr>
                <a:schemeClr val="accent1"/>
              </a:buClr>
            </a:pPr>
            <a:r>
              <a:rPr lang="es-ES_tradnl" dirty="0" smtClean="0"/>
              <a:t>Configuración </a:t>
            </a:r>
            <a:r>
              <a:rPr lang="es-ES_tradnl" dirty="0"/>
              <a:t>de las extensiones que utilizaran el protocolo SIP.</a:t>
            </a:r>
          </a:p>
          <a:p>
            <a:pPr marL="363538" indent="-363538" algn="just">
              <a:spcBef>
                <a:spcPct val="40000"/>
              </a:spcBef>
              <a:buClr>
                <a:schemeClr val="accent1"/>
              </a:buClr>
            </a:pPr>
            <a:endParaRPr kumimoji="0" lang="es-ES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aphicFrame>
        <p:nvGraphicFramePr>
          <p:cNvPr id="11" name="10 Tabla"/>
          <p:cNvGraphicFramePr>
            <a:graphicFrameLocks noGrp="1"/>
          </p:cNvGraphicFramePr>
          <p:nvPr/>
        </p:nvGraphicFramePr>
        <p:xfrm>
          <a:off x="2741966" y="2432363"/>
          <a:ext cx="3538913" cy="2789162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3538913"/>
              </a:tblGrid>
              <a:tr h="47573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1000"/>
                        </a:spcAft>
                      </a:pPr>
                      <a:r>
                        <a:rPr lang="es-ES" sz="1200" dirty="0" smtClean="0"/>
                        <a:t>CONFIGURACIÓN</a:t>
                      </a:r>
                      <a:r>
                        <a:rPr lang="es-ES" sz="1200" baseline="0" dirty="0" smtClean="0"/>
                        <a:t> </a:t>
                      </a:r>
                      <a:r>
                        <a:rPr lang="es-ES" sz="1200" dirty="0" smtClean="0"/>
                        <a:t>EN </a:t>
                      </a:r>
                      <a:r>
                        <a:rPr lang="es-ES" sz="1200" dirty="0"/>
                        <a:t>ZONA </a:t>
                      </a:r>
                      <a:r>
                        <a:rPr lang="es-ES" sz="1200" dirty="0" smtClean="0"/>
                        <a:t>RURAL</a:t>
                      </a:r>
                      <a:r>
                        <a:rPr lang="es-ES" sz="1200" baseline="0" dirty="0" smtClean="0"/>
                        <a:t> Y URBANA</a:t>
                      </a:r>
                      <a:endParaRPr lang="es-ES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</a:tr>
              <a:tr h="22963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/>
                        <a:t>[general]</a:t>
                      </a:r>
                      <a:endParaRPr lang="es-ES" sz="1200" dirty="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/>
                        <a:t>autokill</a:t>
                      </a:r>
                      <a:r>
                        <a:rPr lang="en-US" sz="1200" dirty="0"/>
                        <a:t>=yes ;</a:t>
                      </a:r>
                      <a:r>
                        <a:rPr lang="en-US" sz="1200" dirty="0" err="1"/>
                        <a:t>evita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lazos</a:t>
                      </a:r>
                      <a:endParaRPr lang="es-ES" sz="1200" dirty="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/>
                        <a:t>jitterbuffer</a:t>
                      </a:r>
                      <a:r>
                        <a:rPr lang="en-US" sz="1200" dirty="0"/>
                        <a:t>=yes</a:t>
                      </a:r>
                      <a:endParaRPr lang="es-ES" sz="1200" dirty="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/>
                        <a:t>bindport</a:t>
                      </a:r>
                      <a:r>
                        <a:rPr lang="en-US" sz="1200" dirty="0"/>
                        <a:t>=4569</a:t>
                      </a:r>
                      <a:endParaRPr lang="es-ES" sz="1200" dirty="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/>
                        <a:t>calltokenoptional</a:t>
                      </a:r>
                      <a:r>
                        <a:rPr lang="en-US" sz="1200" dirty="0"/>
                        <a:t>=0.0.0.0/0.0.0.0</a:t>
                      </a:r>
                      <a:endParaRPr lang="es-ES" sz="1200" dirty="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/>
                        <a:t>requirecalltoken</a:t>
                      </a:r>
                      <a:r>
                        <a:rPr lang="en-US" sz="1200" dirty="0"/>
                        <a:t>=auto</a:t>
                      </a:r>
                      <a:endParaRPr lang="es-ES" sz="1200" dirty="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/>
                        <a:t>maxcallnumbers</a:t>
                      </a:r>
                      <a:r>
                        <a:rPr lang="en-US" sz="1200" dirty="0"/>
                        <a:t>=512  ;http://</a:t>
                      </a:r>
                      <a:r>
                        <a:rPr lang="en-US" sz="1200" dirty="0" smtClean="0"/>
                        <a:t>tinyurl.com/iax2seg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s-ES" sz="1200" dirty="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/>
                        <a:t>[</a:t>
                      </a:r>
                      <a:r>
                        <a:rPr lang="en-US" sz="1200" dirty="0" err="1"/>
                        <a:t>priv</a:t>
                      </a:r>
                      <a:r>
                        <a:rPr lang="en-US" sz="1200" dirty="0"/>
                        <a:t>]</a:t>
                      </a:r>
                      <a:endParaRPr lang="es-ES" sz="1200" dirty="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/>
                        <a:t>type=user</a:t>
                      </a:r>
                      <a:endParaRPr lang="es-ES" sz="1200" dirty="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/>
                        <a:t>context=</a:t>
                      </a:r>
                      <a:r>
                        <a:rPr lang="en-US" sz="1200" dirty="0" err="1"/>
                        <a:t>incomingdundi</a:t>
                      </a:r>
                      <a:endParaRPr lang="es-ES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/>
                </a:tc>
              </a:tr>
            </a:tbl>
          </a:graphicData>
        </a:graphic>
      </p:graphicFrame>
      <p:sp>
        <p:nvSpPr>
          <p:cNvPr id="7" name="6 CuadroTexto"/>
          <p:cNvSpPr txBox="1"/>
          <p:nvPr/>
        </p:nvSpPr>
        <p:spPr>
          <a:xfrm>
            <a:off x="6325386" y="6353666"/>
            <a:ext cx="258294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s-ES_tradnl" dirty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2210" y="10126"/>
            <a:ext cx="7091139" cy="688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0" name="1 Título"/>
          <p:cNvSpPr>
            <a:spLocks noGrp="1"/>
          </p:cNvSpPr>
          <p:nvPr>
            <p:ph type="title"/>
          </p:nvPr>
        </p:nvSpPr>
        <p:spPr>
          <a:xfrm>
            <a:off x="314325" y="413867"/>
            <a:ext cx="8515350" cy="600075"/>
          </a:xfrm>
        </p:spPr>
        <p:txBody>
          <a:bodyPr/>
          <a:lstStyle/>
          <a:p>
            <a:r>
              <a:rPr lang="de-DE" sz="5000" b="0" dirty="0" smtClean="0"/>
              <a:t>EXTENSIONS.CONF</a:t>
            </a:r>
            <a:endParaRPr lang="es-ES" sz="5000" b="0" dirty="0" smtClean="0"/>
          </a:p>
        </p:txBody>
      </p:sp>
      <p:sp>
        <p:nvSpPr>
          <p:cNvPr id="7171" name="3 Marcador de pie de página"/>
          <p:cNvSpPr>
            <a:spLocks noGrp="1"/>
          </p:cNvSpPr>
          <p:nvPr>
            <p:ph type="ftr" sz="quarter" idx="10"/>
          </p:nvPr>
        </p:nvSpPr>
        <p:spPr>
          <a:xfrm>
            <a:off x="276225" y="6408738"/>
            <a:ext cx="3532204" cy="247650"/>
          </a:xfrm>
          <a:noFill/>
        </p:spPr>
        <p:txBody>
          <a:bodyPr/>
          <a:lstStyle/>
          <a:p>
            <a:r>
              <a:rPr lang="de-DE" dirty="0" smtClean="0">
                <a:sym typeface="Wingdings" pitchFamily="2" charset="2"/>
              </a:rPr>
              <a:t>VoIP en zonas rurales usando WiFi   </a:t>
            </a:r>
            <a:r>
              <a:rPr lang="de-DE" dirty="0" smtClean="0">
                <a:latin typeface="Arial" pitchFamily="34" charset="0"/>
                <a:sym typeface="Wingdings" pitchFamily="2" charset="2"/>
              </a:rPr>
              <a:t></a:t>
            </a:r>
            <a:r>
              <a:rPr lang="de-DE" dirty="0" smtClean="0">
                <a:latin typeface="Arial" pitchFamily="34" charset="0"/>
              </a:rPr>
              <a:t>  Pag </a:t>
            </a:r>
            <a:fld id="{9F6DF784-F317-4650-8B2E-AFFFD54B7643}" type="slidenum">
              <a:rPr lang="de-DE" smtClean="0">
                <a:latin typeface="Arial" pitchFamily="34" charset="0"/>
              </a:rPr>
              <a:pPr/>
              <a:t>16</a:t>
            </a:fld>
            <a:endParaRPr lang="de-DE" dirty="0" smtClean="0">
              <a:latin typeface="Arial" pitchFamily="34" charset="0"/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1473318" y="1324132"/>
            <a:ext cx="563630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0363" indent="-360363">
              <a:buClr>
                <a:schemeClr val="accent6"/>
              </a:buClr>
              <a:buFont typeface="Wingdings" pitchFamily="2" charset="2"/>
              <a:buChar char="ü"/>
            </a:pPr>
            <a:r>
              <a:rPr lang="es-ES" dirty="0" smtClean="0">
                <a:hlinkClick r:id="rId4" action="ppaction://hlinkfile"/>
              </a:rPr>
              <a:t>Ver archivo de configuración para zona urbana</a:t>
            </a:r>
            <a:endParaRPr lang="es-ES" dirty="0" smtClean="0"/>
          </a:p>
          <a:p>
            <a:pPr>
              <a:buClr>
                <a:schemeClr val="accent6"/>
              </a:buClr>
              <a:buFont typeface="Wingdings" pitchFamily="2" charset="2"/>
              <a:buChar char="ü"/>
            </a:pPr>
            <a:endParaRPr lang="es-ES" dirty="0"/>
          </a:p>
          <a:p>
            <a:pPr marL="360363" indent="-360363">
              <a:buClr>
                <a:schemeClr val="accent6"/>
              </a:buClr>
              <a:buFont typeface="Wingdings" pitchFamily="2" charset="2"/>
              <a:buChar char="ü"/>
            </a:pPr>
            <a:r>
              <a:rPr lang="es-ES" dirty="0" smtClean="0">
                <a:hlinkClick r:id="rId5" action="ppaction://hlinkfile"/>
              </a:rPr>
              <a:t>Ver archivo de configuración para zona rural</a:t>
            </a:r>
            <a:endParaRPr lang="es-ES" dirty="0"/>
          </a:p>
        </p:txBody>
      </p:sp>
      <p:sp>
        <p:nvSpPr>
          <p:cNvPr id="6" name="5 CuadroTexto"/>
          <p:cNvSpPr txBox="1"/>
          <p:nvPr/>
        </p:nvSpPr>
        <p:spPr>
          <a:xfrm>
            <a:off x="6325386" y="6353666"/>
            <a:ext cx="258294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s-ES_tradnl" dirty="0"/>
          </a:p>
        </p:txBody>
      </p:sp>
      <p:sp>
        <p:nvSpPr>
          <p:cNvPr id="9" name="1 Título"/>
          <p:cNvSpPr txBox="1">
            <a:spLocks/>
          </p:cNvSpPr>
          <p:nvPr/>
        </p:nvSpPr>
        <p:spPr bwMode="auto">
          <a:xfrm>
            <a:off x="408668" y="2395067"/>
            <a:ext cx="8515350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50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DUNDI.CONF</a:t>
            </a:r>
            <a:endParaRPr kumimoji="0" lang="es-ES" sz="5000" b="0" i="0" u="none" strike="noStrike" kern="0" cap="none" spc="0" normalizeH="0" baseline="0" noProof="0" dirty="0" smtClean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0" name="1 Título"/>
          <p:cNvSpPr txBox="1">
            <a:spLocks/>
          </p:cNvSpPr>
          <p:nvPr/>
        </p:nvSpPr>
        <p:spPr bwMode="auto">
          <a:xfrm>
            <a:off x="372383" y="4245639"/>
            <a:ext cx="8515350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50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VOICEMAIL.CONF</a:t>
            </a:r>
            <a:endParaRPr kumimoji="0" lang="es-ES" sz="5000" b="0" i="0" u="none" strike="noStrike" kern="0" cap="none" spc="0" normalizeH="0" baseline="0" noProof="0" dirty="0" smtClean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1509607" y="3189216"/>
            <a:ext cx="563630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0363" indent="-360363">
              <a:buClr>
                <a:schemeClr val="accent6"/>
              </a:buClr>
              <a:buFont typeface="Wingdings" pitchFamily="2" charset="2"/>
              <a:buChar char="ü"/>
            </a:pPr>
            <a:r>
              <a:rPr lang="es-ES" dirty="0" smtClean="0">
                <a:hlinkClick r:id="rId6" action="ppaction://hlinkfile"/>
              </a:rPr>
              <a:t>Ver archivo de configuración para zona urbana</a:t>
            </a:r>
            <a:endParaRPr lang="es-ES" dirty="0" smtClean="0"/>
          </a:p>
          <a:p>
            <a:pPr>
              <a:buClr>
                <a:schemeClr val="accent6"/>
              </a:buClr>
              <a:buFont typeface="Wingdings" pitchFamily="2" charset="2"/>
              <a:buChar char="ü"/>
            </a:pPr>
            <a:endParaRPr lang="es-ES" dirty="0"/>
          </a:p>
          <a:p>
            <a:pPr marL="360363" indent="-360363">
              <a:buClr>
                <a:schemeClr val="accent6"/>
              </a:buClr>
              <a:buFont typeface="Wingdings" pitchFamily="2" charset="2"/>
              <a:buChar char="ü"/>
            </a:pPr>
            <a:r>
              <a:rPr lang="es-ES" dirty="0" smtClean="0">
                <a:hlinkClick r:id="rId7" action="ppaction://hlinkfile"/>
              </a:rPr>
              <a:t>Ver archivo de configuración para zona rural</a:t>
            </a:r>
            <a:endParaRPr lang="es-ES" dirty="0"/>
          </a:p>
        </p:txBody>
      </p:sp>
      <p:sp>
        <p:nvSpPr>
          <p:cNvPr id="12" name="11 CuadroTexto"/>
          <p:cNvSpPr txBox="1"/>
          <p:nvPr/>
        </p:nvSpPr>
        <p:spPr>
          <a:xfrm>
            <a:off x="1480575" y="5032532"/>
            <a:ext cx="563630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0363" indent="-360363">
              <a:buClr>
                <a:schemeClr val="accent6"/>
              </a:buClr>
              <a:buFont typeface="Wingdings" pitchFamily="2" charset="2"/>
              <a:buChar char="ü"/>
            </a:pPr>
            <a:r>
              <a:rPr lang="es-ES" dirty="0" smtClean="0">
                <a:hlinkClick r:id="rId8" action="ppaction://hlinkfile"/>
              </a:rPr>
              <a:t>Ver archivo de configuración para zona urbana</a:t>
            </a:r>
            <a:endParaRPr lang="es-ES" dirty="0" smtClean="0"/>
          </a:p>
          <a:p>
            <a:pPr>
              <a:buClr>
                <a:schemeClr val="accent6"/>
              </a:buClr>
              <a:buFont typeface="Wingdings" pitchFamily="2" charset="2"/>
              <a:buChar char="ü"/>
            </a:pPr>
            <a:endParaRPr lang="es-ES" dirty="0"/>
          </a:p>
          <a:p>
            <a:pPr marL="360363" indent="-360363">
              <a:buClr>
                <a:schemeClr val="accent6"/>
              </a:buClr>
              <a:buFont typeface="Wingdings" pitchFamily="2" charset="2"/>
              <a:buChar char="ü"/>
            </a:pPr>
            <a:r>
              <a:rPr lang="es-ES" dirty="0" smtClean="0">
                <a:hlinkClick r:id="rId9" action="ppaction://hlinkfile"/>
              </a:rPr>
              <a:t>Ver archivo de configuración para zona rural</a:t>
            </a:r>
            <a:endParaRPr lang="es-ES" dirty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2210" y="10126"/>
            <a:ext cx="7091139" cy="688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0" name="1 Título"/>
          <p:cNvSpPr>
            <a:spLocks noGrp="1"/>
          </p:cNvSpPr>
          <p:nvPr>
            <p:ph type="title"/>
          </p:nvPr>
        </p:nvSpPr>
        <p:spPr>
          <a:xfrm>
            <a:off x="314325" y="413867"/>
            <a:ext cx="8515350" cy="600075"/>
          </a:xfrm>
        </p:spPr>
        <p:txBody>
          <a:bodyPr/>
          <a:lstStyle/>
          <a:p>
            <a:r>
              <a:rPr lang="de-DE" sz="5000" b="0" dirty="0" smtClean="0"/>
              <a:t>Pruebas</a:t>
            </a:r>
            <a:endParaRPr lang="es-ES" sz="5000" b="0" dirty="0" smtClean="0"/>
          </a:p>
        </p:txBody>
      </p:sp>
      <p:sp>
        <p:nvSpPr>
          <p:cNvPr id="7171" name="3 Marcador de pie de página"/>
          <p:cNvSpPr>
            <a:spLocks noGrp="1"/>
          </p:cNvSpPr>
          <p:nvPr>
            <p:ph type="ftr" sz="quarter" idx="10"/>
          </p:nvPr>
        </p:nvSpPr>
        <p:spPr>
          <a:xfrm>
            <a:off x="276224" y="6408738"/>
            <a:ext cx="3494497" cy="247650"/>
          </a:xfrm>
          <a:noFill/>
        </p:spPr>
        <p:txBody>
          <a:bodyPr/>
          <a:lstStyle/>
          <a:p>
            <a:r>
              <a:rPr lang="de-DE" dirty="0" smtClean="0">
                <a:sym typeface="Wingdings" pitchFamily="2" charset="2"/>
              </a:rPr>
              <a:t>VoIP en zonas rurales usando WiFi   </a:t>
            </a:r>
            <a:r>
              <a:rPr lang="de-DE" dirty="0" smtClean="0">
                <a:latin typeface="Arial" pitchFamily="34" charset="0"/>
                <a:sym typeface="Wingdings" pitchFamily="2" charset="2"/>
              </a:rPr>
              <a:t></a:t>
            </a:r>
            <a:r>
              <a:rPr lang="de-DE" dirty="0" smtClean="0">
                <a:latin typeface="Arial" pitchFamily="34" charset="0"/>
              </a:rPr>
              <a:t>  Pag </a:t>
            </a:r>
            <a:fld id="{9F6DF784-F317-4650-8B2E-AFFFD54B7643}" type="slidenum">
              <a:rPr lang="de-DE" smtClean="0">
                <a:latin typeface="Arial" pitchFamily="34" charset="0"/>
              </a:rPr>
              <a:pPr/>
              <a:t>17</a:t>
            </a:fld>
            <a:endParaRPr lang="de-DE" dirty="0" smtClean="0">
              <a:latin typeface="Arial" pitchFamily="34" charset="0"/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1603947" y="2848132"/>
            <a:ext cx="56363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0363" indent="-360363">
              <a:buClr>
                <a:schemeClr val="accent6"/>
              </a:buClr>
              <a:buFont typeface="Wingdings" pitchFamily="2" charset="2"/>
              <a:buChar char="ü"/>
            </a:pPr>
            <a:r>
              <a:rPr lang="es-ES" dirty="0" smtClean="0">
                <a:hlinkClick r:id="rId4" action="ppaction://hlinkfile"/>
              </a:rPr>
              <a:t>Ver video</a:t>
            </a:r>
            <a:endParaRPr lang="es-ES" dirty="0" smtClean="0"/>
          </a:p>
        </p:txBody>
      </p:sp>
      <p:sp>
        <p:nvSpPr>
          <p:cNvPr id="6" name="5 CuadroTexto"/>
          <p:cNvSpPr txBox="1"/>
          <p:nvPr/>
        </p:nvSpPr>
        <p:spPr>
          <a:xfrm>
            <a:off x="6325386" y="6353666"/>
            <a:ext cx="258294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s-ES_tradnl" dirty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14325" y="404590"/>
            <a:ext cx="8515350" cy="600075"/>
          </a:xfrm>
        </p:spPr>
        <p:txBody>
          <a:bodyPr/>
          <a:lstStyle/>
          <a:p>
            <a:r>
              <a:rPr lang="es-ES" sz="5000" b="0" dirty="0" smtClean="0"/>
              <a:t>Conclusiones</a:t>
            </a:r>
            <a:endParaRPr lang="es-ES" sz="5000" b="0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1016000" y="1197433"/>
            <a:ext cx="7813449" cy="4680858"/>
          </a:xfrm>
        </p:spPr>
        <p:txBody>
          <a:bodyPr/>
          <a:lstStyle/>
          <a:p>
            <a:pPr marL="342900" lvl="0" indent="-342900" algn="just">
              <a:buFont typeface="+mj-lt"/>
              <a:buAutoNum type="arabicPeriod"/>
            </a:pPr>
            <a:r>
              <a:rPr lang="es-EC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bido a las necesidades de los entornos rurales que no disponen de servicio de telefonía, se realizó una solución para esta necesidad.</a:t>
            </a:r>
            <a:endParaRPr lang="es-ES" sz="14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342900" lvl="0" indent="-342900" algn="just">
              <a:buFont typeface="+mj-lt"/>
              <a:buAutoNum type="arabicPeriod"/>
            </a:pPr>
            <a:endParaRPr lang="es-EC" sz="14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342900" lvl="0" indent="-342900" algn="just">
              <a:buFont typeface="+mj-lt"/>
              <a:buAutoNum type="arabicPeriod"/>
            </a:pPr>
            <a:r>
              <a:rPr lang="es-EC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 base a las pruebas y ejecución de este proyecto, es necesario implementar este servicio de  telefonía en la mayoría de los entornos rurales, para mejorar el flujo de la comunicación en el país.</a:t>
            </a:r>
            <a:endParaRPr lang="es-EC" sz="1400" dirty="0" smtClean="0"/>
          </a:p>
          <a:p>
            <a:pPr marL="342900" lvl="0" indent="-342900" algn="just">
              <a:buFont typeface="+mj-lt"/>
              <a:buAutoNum type="arabicPeriod"/>
            </a:pPr>
            <a:endParaRPr lang="es-EC" sz="1400" dirty="0" smtClean="0"/>
          </a:p>
          <a:p>
            <a:pPr marL="342900" lvl="0" indent="-342900" algn="just">
              <a:buFont typeface="+mj-lt"/>
              <a:buAutoNum type="arabicPeriod"/>
            </a:pPr>
            <a:r>
              <a:rPr lang="es-EC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ste proyecto podría ser de mucha utilidad tanto en zonas rurales y áreas empresariales dentro del perímetro urbano.</a:t>
            </a:r>
            <a:endParaRPr lang="es-EC" sz="1400" dirty="0" smtClean="0"/>
          </a:p>
          <a:p>
            <a:pPr marL="342900" lvl="0" indent="-342900" algn="just">
              <a:buFont typeface="+mj-lt"/>
              <a:buAutoNum type="arabicPeriod"/>
            </a:pPr>
            <a:endParaRPr lang="es-EC" sz="14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342900" lvl="0" indent="-342900" algn="just">
              <a:buFont typeface="+mj-lt"/>
              <a:buAutoNum type="arabicPeriod"/>
            </a:pPr>
            <a:r>
              <a:rPr lang="es-EC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bido a que la tecnología avanza, y estamos inmersos en ella debemos hacer el uso respectivo y acomodándonos a las necesidades del entorno. En esta solución </a:t>
            </a:r>
            <a:r>
              <a:rPr lang="es-EC" sz="14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 utiliza la </a:t>
            </a:r>
            <a:r>
              <a:rPr lang="es-EC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cnología WIFI, permitiendo el ahorro de cableado.</a:t>
            </a:r>
          </a:p>
          <a:p>
            <a:pPr marL="342900" lvl="0" indent="-342900" algn="just">
              <a:buFont typeface="+mj-lt"/>
              <a:buAutoNum type="arabicPeriod"/>
            </a:pPr>
            <a:endParaRPr lang="es-EC" sz="14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342900" lvl="0" indent="-342900" algn="just">
              <a:buFont typeface="+mj-lt"/>
              <a:buAutoNum type="arabicPeriod"/>
            </a:pPr>
            <a:r>
              <a:rPr lang="es-EC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l proyecto es rentable debido a su diseño, ya que permite establecer comunicación entre sus PBX y compartir su plan de marcado entre en los entornos urbanos y rurales.</a:t>
            </a:r>
          </a:p>
          <a:p>
            <a:pPr marL="342900" lvl="0" indent="-342900" algn="just">
              <a:buFont typeface="+mj-lt"/>
              <a:buAutoNum type="arabicPeriod"/>
            </a:pPr>
            <a:endParaRPr lang="es-EC" sz="14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342900" lvl="0" indent="-342900" algn="just">
              <a:buFont typeface="+mj-lt"/>
              <a:buAutoNum type="arabicPeriod"/>
            </a:pPr>
            <a:r>
              <a:rPr lang="es-EC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ste proyecto es de bajo costo, debido a que se utiliza código abierto, la única inversión es en requerimientos hardware y mano de obra de instalación y configuración.</a:t>
            </a:r>
            <a:endParaRPr lang="es-ES" sz="14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algn="just"/>
            <a:endParaRPr lang="es-ES" sz="1400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0"/>
          </p:nvPr>
        </p:nvSpPr>
        <p:spPr>
          <a:xfrm>
            <a:off x="276224" y="6408738"/>
            <a:ext cx="3456789" cy="247650"/>
          </a:xfrm>
        </p:spPr>
        <p:txBody>
          <a:bodyPr/>
          <a:lstStyle/>
          <a:p>
            <a:pPr>
              <a:defRPr/>
            </a:pPr>
            <a:r>
              <a:rPr lang="de-DE" dirty="0" smtClean="0">
                <a:sym typeface="Wingdings" pitchFamily="2" charset="2"/>
              </a:rPr>
              <a:t>VoIP en zonas rurales usando WiFi   </a:t>
            </a:r>
            <a:r>
              <a:rPr lang="de-DE" dirty="0" smtClean="0"/>
              <a:t>  Pag </a:t>
            </a:r>
            <a:fld id="{3E567BFB-DB35-4C08-86A7-50461D7639A7}" type="slidenum">
              <a:rPr lang="de-DE" smtClean="0"/>
              <a:pPr>
                <a:defRPr/>
              </a:pPr>
              <a:t>18</a:t>
            </a:fld>
            <a:endParaRPr lang="de-DE" dirty="0"/>
          </a:p>
        </p:txBody>
      </p:sp>
      <p:sp>
        <p:nvSpPr>
          <p:cNvPr id="5" name="4 CuadroTexto"/>
          <p:cNvSpPr txBox="1"/>
          <p:nvPr/>
        </p:nvSpPr>
        <p:spPr>
          <a:xfrm>
            <a:off x="6325386" y="6353666"/>
            <a:ext cx="258294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s-ES_tradnl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2210" y="10126"/>
            <a:ext cx="7091139" cy="688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14325" y="433618"/>
            <a:ext cx="8515350" cy="600075"/>
          </a:xfrm>
        </p:spPr>
        <p:txBody>
          <a:bodyPr/>
          <a:lstStyle/>
          <a:p>
            <a:r>
              <a:rPr lang="es-ES" sz="5000" b="0" dirty="0" smtClean="0"/>
              <a:t>Recomendaciones</a:t>
            </a:r>
            <a:endParaRPr lang="es-ES" sz="5000" b="0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986971" y="1211942"/>
            <a:ext cx="7886020" cy="4506686"/>
          </a:xfrm>
        </p:spPr>
        <p:txBody>
          <a:bodyPr/>
          <a:lstStyle/>
          <a:p>
            <a:pPr marL="342900" lvl="0" indent="-342900" algn="just">
              <a:buFont typeface="+mj-lt"/>
              <a:buAutoNum type="arabicPeriod"/>
            </a:pPr>
            <a:r>
              <a:rPr lang="es-EC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l implementar esta tecnología, el proveedor de Internet deberá establecer una conexión punto a punto, o una conexión a internet en ambos extremos para establecer la comunicación .</a:t>
            </a:r>
          </a:p>
          <a:p>
            <a:pPr marL="342900" lvl="0" indent="-342900" algn="just">
              <a:buFont typeface="+mj-lt"/>
              <a:buAutoNum type="arabicPeriod"/>
            </a:pPr>
            <a:endParaRPr lang="es-EC" sz="14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342900" lvl="0" indent="-342900" algn="just">
              <a:buFont typeface="+mj-lt"/>
              <a:buAutoNum type="arabicPeriod"/>
            </a:pPr>
            <a:r>
              <a:rPr lang="es-EC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ar equipos que soporten VPN como </a:t>
            </a:r>
            <a:r>
              <a:rPr lang="es-EC" sz="14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outer’s</a:t>
            </a:r>
            <a:r>
              <a:rPr lang="es-EC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CISCO Serie 1800 IOS 12.4 o superior, para la transmisión de la voz y se necesitará configurar la VPN o túneles para la interconexión entre ambos servidores.</a:t>
            </a:r>
          </a:p>
          <a:p>
            <a:pPr marL="342900" lvl="0" indent="-342900" algn="just">
              <a:buFont typeface="+mj-lt"/>
              <a:buAutoNum type="arabicPeriod"/>
            </a:pPr>
            <a:endParaRPr lang="es-EC" sz="14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342900" lvl="0" indent="-342900" algn="just">
              <a:buFont typeface="+mj-lt"/>
              <a:buAutoNum type="arabicPeriod"/>
            </a:pPr>
            <a:r>
              <a:rPr lang="es-EC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acer el uso de antenas sectoriales y repetidoras para la señal inalámbrica, para que abastezca todo el entorno rural. Es necesario hacer un estudio de campo en la zona geográfica donde se dará la cobertura del servicio y poder determinar las limitantes posibles.</a:t>
            </a:r>
            <a:endParaRPr lang="es-ES" sz="14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342900" lvl="0" indent="-342900" algn="just">
              <a:buFont typeface="+mj-lt"/>
              <a:buAutoNum type="arabicPeriod"/>
            </a:pPr>
            <a:endParaRPr lang="es-EC" sz="14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342900" lvl="0" indent="-342900" algn="just">
              <a:buFont typeface="+mj-lt"/>
              <a:buAutoNum type="arabicPeriod"/>
            </a:pPr>
            <a:r>
              <a:rPr lang="es-EC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o debería de haber más de 20 usuarios conectados con teléfonos IP inalámbricos en cada servidor debido a que se pierde la calidad de servicio. Depende directamente del ancho de banda que se tenga.</a:t>
            </a:r>
            <a:endParaRPr lang="es-ES" sz="14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342900" lvl="0" indent="-342900" algn="just">
              <a:buFont typeface="+mj-lt"/>
              <a:buAutoNum type="arabicPeriod"/>
            </a:pPr>
            <a:endParaRPr lang="es-EC" sz="14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342900" lvl="0" indent="-342900" algn="just">
              <a:buFont typeface="+mj-lt"/>
              <a:buAutoNum type="arabicPeriod"/>
            </a:pPr>
            <a:r>
              <a:rPr lang="es-EC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licitar a la empresa de telefonía pública, hacer el uso del mismo número telefónico, con diferentes líneas para conectarlas en la tarjeta TDM400p, en los puertos FXO, y así poder realizar y recibir algunas llamadas de manera consecutiva.</a:t>
            </a:r>
            <a:endParaRPr lang="es-ES" sz="14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0"/>
          </p:nvPr>
        </p:nvSpPr>
        <p:spPr>
          <a:xfrm>
            <a:off x="276224" y="6408738"/>
            <a:ext cx="3824435" cy="247650"/>
          </a:xfrm>
        </p:spPr>
        <p:txBody>
          <a:bodyPr/>
          <a:lstStyle/>
          <a:p>
            <a:pPr>
              <a:defRPr/>
            </a:pPr>
            <a:r>
              <a:rPr lang="de-DE" dirty="0" smtClean="0">
                <a:sym typeface="Wingdings" pitchFamily="2" charset="2"/>
              </a:rPr>
              <a:t>VoIP en zonas rurales usando WiFi   </a:t>
            </a:r>
            <a:r>
              <a:rPr lang="de-DE" dirty="0" smtClean="0"/>
              <a:t>  Pag </a:t>
            </a:r>
            <a:fld id="{3E567BFB-DB35-4C08-86A7-50461D7639A7}" type="slidenum">
              <a:rPr lang="de-DE" smtClean="0"/>
              <a:pPr>
                <a:defRPr/>
              </a:pPr>
              <a:t>19</a:t>
            </a:fld>
            <a:endParaRPr lang="de-DE" dirty="0"/>
          </a:p>
        </p:txBody>
      </p:sp>
      <p:sp>
        <p:nvSpPr>
          <p:cNvPr id="5" name="4 CuadroTexto"/>
          <p:cNvSpPr txBox="1"/>
          <p:nvPr/>
        </p:nvSpPr>
        <p:spPr>
          <a:xfrm>
            <a:off x="6325386" y="6353666"/>
            <a:ext cx="258294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s-ES_tradnl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2210" y="10126"/>
            <a:ext cx="7091139" cy="688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-217714"/>
            <a:ext cx="7091139" cy="688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13657" y="581102"/>
            <a:ext cx="4303486" cy="614054"/>
          </a:xfrm>
        </p:spPr>
        <p:txBody>
          <a:bodyPr/>
          <a:lstStyle/>
          <a:p>
            <a:r>
              <a:rPr lang="es-ES" sz="5000" b="0" dirty="0" smtClean="0"/>
              <a:t>Antecedentes</a:t>
            </a:r>
            <a:endParaRPr lang="es-ES" sz="5000" b="0" dirty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827315" y="1338564"/>
            <a:ext cx="4315508" cy="4467149"/>
          </a:xfrm>
        </p:spPr>
        <p:txBody>
          <a:bodyPr/>
          <a:lstStyle/>
          <a:p>
            <a:pPr marL="261938" indent="-261938" algn="just">
              <a:buFont typeface="Wingdings" pitchFamily="2" charset="2"/>
              <a:buChar char="ü"/>
            </a:pPr>
            <a:r>
              <a:rPr lang="es-ES" sz="1800" dirty="0" smtClean="0"/>
              <a:t>En la actualidad la brecha tecnológica alrededor del mundo se ha estado haciendo más pequeña debido a las numerosas facilidades de acceso a las tecnologías de información, la reducción de costos de adquisición, operación y mantenimiento. </a:t>
            </a:r>
          </a:p>
          <a:p>
            <a:pPr marL="261938" indent="-261938" algn="just">
              <a:buFont typeface="Wingdings" pitchFamily="2" charset="2"/>
              <a:buChar char="ü"/>
            </a:pPr>
            <a:endParaRPr lang="es-ES" sz="1800" dirty="0" smtClean="0"/>
          </a:p>
          <a:p>
            <a:pPr marL="261938" indent="-261938" algn="just">
              <a:buFont typeface="Wingdings" pitchFamily="2" charset="2"/>
              <a:buChar char="ü"/>
            </a:pPr>
            <a:endParaRPr lang="es-ES" sz="1800" dirty="0" smtClean="0"/>
          </a:p>
          <a:p>
            <a:pPr marL="261938" indent="-261938" algn="just">
              <a:buFont typeface="Wingdings" pitchFamily="2" charset="2"/>
              <a:buChar char="ü"/>
            </a:pPr>
            <a:r>
              <a:rPr lang="es-ES" sz="1800" dirty="0" smtClean="0"/>
              <a:t>En los últimos años se ha vuelto ampliamente popular </a:t>
            </a:r>
            <a:r>
              <a:rPr lang="es-ES" sz="1800" dirty="0" smtClean="0"/>
              <a:t>implementar a </a:t>
            </a:r>
            <a:r>
              <a:rPr lang="es-ES" sz="1800" dirty="0" smtClean="0"/>
              <a:t>nivel mundial un software para </a:t>
            </a:r>
            <a:r>
              <a:rPr lang="es-ES" sz="1800" dirty="0" smtClean="0"/>
              <a:t>centrales </a:t>
            </a:r>
            <a:r>
              <a:rPr lang="es-ES" sz="1800" dirty="0" smtClean="0"/>
              <a:t>telefónicas debido a su flexibilidad y por ser de código abierto llamado :</a:t>
            </a:r>
            <a:r>
              <a:rPr lang="es-ES" sz="1800" dirty="0" err="1" smtClean="0"/>
              <a:t>Asterisk</a:t>
            </a:r>
            <a:r>
              <a:rPr lang="es-ES" sz="1800" dirty="0" smtClean="0"/>
              <a:t>.</a:t>
            </a:r>
          </a:p>
          <a:p>
            <a:pPr>
              <a:buFont typeface="Wingdings" pitchFamily="2" charset="2"/>
              <a:buChar char="ü"/>
            </a:pPr>
            <a:endParaRPr lang="es-ES" dirty="0" smtClean="0"/>
          </a:p>
          <a:p>
            <a:pPr>
              <a:buFont typeface="Arial" pitchFamily="34" charset="0"/>
              <a:buChar char="•"/>
            </a:pPr>
            <a:endParaRPr lang="es-ES" dirty="0" smtClean="0"/>
          </a:p>
          <a:p>
            <a:pPr>
              <a:buFont typeface="Arial" pitchFamily="34" charset="0"/>
              <a:buChar char="•"/>
            </a:pPr>
            <a:endParaRPr lang="es-ES" dirty="0" smtClean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0"/>
          </p:nvPr>
        </p:nvSpPr>
        <p:spPr>
          <a:xfrm>
            <a:off x="276225" y="6408738"/>
            <a:ext cx="3645326" cy="247650"/>
          </a:xfrm>
        </p:spPr>
        <p:txBody>
          <a:bodyPr/>
          <a:lstStyle/>
          <a:p>
            <a:pPr>
              <a:defRPr/>
            </a:pPr>
            <a:r>
              <a:rPr lang="de-DE" dirty="0" smtClean="0">
                <a:sym typeface="Wingdings" pitchFamily="2" charset="2"/>
              </a:rPr>
              <a:t>VoIP en zonas rurales usando WiFi   </a:t>
            </a:r>
            <a:r>
              <a:rPr lang="de-DE" dirty="0" smtClean="0"/>
              <a:t>  Pag </a:t>
            </a:r>
            <a:fld id="{FC26050F-66F1-4A24-985D-40DFB72A2F2D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  <p:pic>
        <p:nvPicPr>
          <p:cNvPr id="7" name="Picture 5"/>
          <p:cNvPicPr>
            <a:picLocks noGrp="1" noChangeAspect="1" noChangeArrowheads="1"/>
          </p:cNvPicPr>
          <p:nvPr>
            <p:ph idx="1"/>
          </p:nvPr>
        </p:nvPicPr>
        <p:blipFill>
          <a:blip r:embed="rId4" cstate="print"/>
          <a:srcRect b="25166"/>
          <a:stretch>
            <a:fillRect/>
          </a:stretch>
        </p:blipFill>
        <p:spPr bwMode="auto">
          <a:xfrm>
            <a:off x="5754622" y="4371117"/>
            <a:ext cx="2381250" cy="100503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3074" name="Picture 2" descr="http://2.bp.blogspot.com/_gUA8s06xLm8/S9B-_yccUaI/AAAAAAAAA7Y/vim9S07Nzuw/s1600/avance+tecnologico.bmp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468419" y="1447832"/>
            <a:ext cx="3048000" cy="2333625"/>
          </a:xfrm>
          <a:prstGeom prst="rect">
            <a:avLst/>
          </a:prstGeom>
          <a:noFill/>
        </p:spPr>
      </p:pic>
      <p:sp>
        <p:nvSpPr>
          <p:cNvPr id="8" name="7 CuadroTexto"/>
          <p:cNvSpPr txBox="1"/>
          <p:nvPr/>
        </p:nvSpPr>
        <p:spPr>
          <a:xfrm>
            <a:off x="6325386" y="6353666"/>
            <a:ext cx="258294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s-ES_tradnl" dirty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s-ES" smtClean="0"/>
              <a:t>Preguntas</a:t>
            </a:r>
          </a:p>
        </p:txBody>
      </p:sp>
      <p:sp>
        <p:nvSpPr>
          <p:cNvPr id="28675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endParaRPr lang="es-EC" smtClean="0"/>
          </a:p>
        </p:txBody>
      </p:sp>
      <p:pic>
        <p:nvPicPr>
          <p:cNvPr id="28676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500" y="2214563"/>
            <a:ext cx="3149600" cy="3582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4 CuadroTexto"/>
          <p:cNvSpPr txBox="1"/>
          <p:nvPr/>
        </p:nvSpPr>
        <p:spPr>
          <a:xfrm>
            <a:off x="6325386" y="6353666"/>
            <a:ext cx="258294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s-ES_tradnl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2210" y="10126"/>
            <a:ext cx="7091139" cy="688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1 Marcador de pie de página"/>
          <p:cNvSpPr>
            <a:spLocks noGrp="1"/>
          </p:cNvSpPr>
          <p:nvPr>
            <p:ph type="ftr" sz="quarter" idx="10"/>
          </p:nvPr>
        </p:nvSpPr>
        <p:spPr>
          <a:xfrm>
            <a:off x="276225" y="6386513"/>
            <a:ext cx="4173538" cy="269875"/>
          </a:xfrm>
          <a:noFill/>
        </p:spPr>
        <p:txBody>
          <a:bodyPr/>
          <a:lstStyle/>
          <a:p>
            <a:r>
              <a:rPr lang="de-DE" dirty="0" smtClean="0">
                <a:sym typeface="Wingdings" pitchFamily="2" charset="2"/>
              </a:rPr>
              <a:t>VoIP en zonas rurales usando WiFi   </a:t>
            </a:r>
            <a:r>
              <a:rPr lang="de-DE" dirty="0" smtClean="0">
                <a:latin typeface="Arial" pitchFamily="34" charset="0"/>
                <a:sym typeface="Wingdings" pitchFamily="2" charset="2"/>
              </a:rPr>
              <a:t></a:t>
            </a:r>
            <a:r>
              <a:rPr lang="de-DE" dirty="0" smtClean="0">
                <a:latin typeface="Arial" pitchFamily="34" charset="0"/>
              </a:rPr>
              <a:t>  Pag </a:t>
            </a:r>
            <a:fld id="{52A06F3D-52A4-4327-B995-968EE928DAC8}" type="slidenum">
              <a:rPr lang="de-DE" smtClean="0">
                <a:latin typeface="Arial" pitchFamily="34" charset="0"/>
              </a:rPr>
              <a:pPr/>
              <a:t>3</a:t>
            </a:fld>
            <a:endParaRPr lang="de-DE" dirty="0" smtClean="0">
              <a:latin typeface="Arial" pitchFamily="34" charset="0"/>
            </a:endParaRPr>
          </a:p>
        </p:txBody>
      </p:sp>
      <p:graphicFrame>
        <p:nvGraphicFramePr>
          <p:cNvPr id="1026" name="Rectangle 8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6" r:id="rId6" imgW="0" imgH="0" progId="">
              <p:embed/>
            </p:oleObj>
          </a:graphicData>
        </a:graphic>
      </p:graphicFrame>
      <p:pic>
        <p:nvPicPr>
          <p:cNvPr id="1028" name="Picture 7" descr="blue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-12700" y="-25400"/>
            <a:ext cx="9144000" cy="6151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9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23838" y="992188"/>
            <a:ext cx="8677275" cy="19227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s-EC" sz="3600" b="1" dirty="0" smtClean="0">
                <a:solidFill>
                  <a:schemeClr val="bg1"/>
                </a:solidFill>
              </a:rPr>
              <a:t>“</a:t>
            </a:r>
            <a:r>
              <a:rPr lang="es-ES_tradnl" sz="3600" dirty="0" smtClean="0">
                <a:solidFill>
                  <a:schemeClr val="bg1"/>
                </a:solidFill>
              </a:rPr>
              <a:t>El verdadero progreso es el que pone la tecnología al alcance de todos</a:t>
            </a:r>
            <a:r>
              <a:rPr lang="es-EC" sz="3600" b="1" dirty="0" smtClean="0">
                <a:solidFill>
                  <a:schemeClr val="bg1"/>
                </a:solidFill>
              </a:rPr>
              <a:t>.”</a:t>
            </a:r>
          </a:p>
          <a:p>
            <a:pPr algn="r">
              <a:lnSpc>
                <a:spcPct val="110000"/>
              </a:lnSpc>
            </a:pPr>
            <a:r>
              <a:rPr lang="es-EC" sz="3600" dirty="0" smtClean="0">
                <a:solidFill>
                  <a:schemeClr val="bg1"/>
                </a:solidFill>
                <a:ea typeface="ＭＳ Ｐゴシック" pitchFamily="34" charset="-128"/>
              </a:rPr>
              <a:t>Henry Ford</a:t>
            </a:r>
            <a:endParaRPr lang="de-DE" sz="3400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pic>
        <p:nvPicPr>
          <p:cNvPr id="1030" name="Picture 9" descr="Unbenannt-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612063" y="4487863"/>
            <a:ext cx="885825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6 CuadroTexto"/>
          <p:cNvSpPr txBox="1"/>
          <p:nvPr/>
        </p:nvSpPr>
        <p:spPr>
          <a:xfrm>
            <a:off x="6325386" y="6353666"/>
            <a:ext cx="258294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s-ES_tradnl" dirty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142876" y="0"/>
            <a:ext cx="7091139" cy="688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46" name="3 Marcador de pie de página"/>
          <p:cNvSpPr>
            <a:spLocks noGrp="1"/>
          </p:cNvSpPr>
          <p:nvPr>
            <p:ph type="ftr" sz="quarter" idx="10"/>
          </p:nvPr>
        </p:nvSpPr>
        <p:spPr>
          <a:xfrm>
            <a:off x="276225" y="6359525"/>
            <a:ext cx="3736975" cy="296863"/>
          </a:xfrm>
          <a:noFill/>
        </p:spPr>
        <p:txBody>
          <a:bodyPr/>
          <a:lstStyle/>
          <a:p>
            <a:r>
              <a:rPr lang="de-DE" dirty="0" smtClean="0">
                <a:sym typeface="Wingdings" pitchFamily="2" charset="2"/>
              </a:rPr>
              <a:t>VoIP en zonas rurales usando WiFi   </a:t>
            </a:r>
            <a:r>
              <a:rPr lang="de-DE" dirty="0" smtClean="0">
                <a:latin typeface="Arial" pitchFamily="34" charset="0"/>
                <a:sym typeface="Wingdings" pitchFamily="2" charset="2"/>
              </a:rPr>
              <a:t></a:t>
            </a:r>
            <a:r>
              <a:rPr lang="de-DE" dirty="0" smtClean="0">
                <a:latin typeface="Arial" pitchFamily="34" charset="0"/>
              </a:rPr>
              <a:t>  Pag </a:t>
            </a:r>
            <a:fld id="{0DDCB998-F752-4DFF-9610-E4FC8230729E}" type="slidenum">
              <a:rPr lang="de-DE" smtClean="0">
                <a:latin typeface="Arial" pitchFamily="34" charset="0"/>
              </a:rPr>
              <a:pPr/>
              <a:t>4</a:t>
            </a:fld>
            <a:endParaRPr lang="de-DE" dirty="0" smtClean="0">
              <a:latin typeface="Arial" pitchFamily="34" charset="0"/>
            </a:endParaRPr>
          </a:p>
        </p:txBody>
      </p:sp>
      <p:sp>
        <p:nvSpPr>
          <p:cNvPr id="6150" name="Rectangle 8"/>
          <p:cNvSpPr>
            <a:spLocks noChangeArrowheads="1"/>
          </p:cNvSpPr>
          <p:nvPr/>
        </p:nvSpPr>
        <p:spPr bwMode="auto">
          <a:xfrm>
            <a:off x="996287" y="1509486"/>
            <a:ext cx="7697335" cy="4603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/>
          <a:lstStyle/>
          <a:p>
            <a:pPr marL="363538" lvl="2" indent="-363538" algn="just">
              <a:buClr>
                <a:schemeClr val="accent6"/>
              </a:buClr>
              <a:buFont typeface="Wingdings" pitchFamily="2" charset="2"/>
              <a:buChar char="ü"/>
            </a:pPr>
            <a:r>
              <a:rPr lang="es-ES" dirty="0"/>
              <a:t>Desarrollar un diseño e implementación de una red de comunicaciones </a:t>
            </a:r>
            <a:r>
              <a:rPr lang="es-ES" dirty="0" smtClean="0"/>
              <a:t>basada </a:t>
            </a:r>
            <a:r>
              <a:rPr lang="es-ES" dirty="0"/>
              <a:t>en tecnología IEEE802.11b/g (</a:t>
            </a:r>
            <a:r>
              <a:rPr lang="es-ES" dirty="0" err="1"/>
              <a:t>WiFi</a:t>
            </a:r>
            <a:r>
              <a:rPr lang="es-ES" dirty="0"/>
              <a:t>) con servicios de Telefonía </a:t>
            </a:r>
            <a:r>
              <a:rPr lang="es-ES" dirty="0" smtClean="0"/>
              <a:t>IP </a:t>
            </a:r>
            <a:r>
              <a:rPr lang="es-ES" dirty="0"/>
              <a:t>para enlaces de larga distancia en entornos rurales como solución a </a:t>
            </a:r>
            <a:r>
              <a:rPr lang="es-ES" dirty="0" smtClean="0"/>
              <a:t>la </a:t>
            </a:r>
            <a:r>
              <a:rPr lang="es-ES" dirty="0"/>
              <a:t>demanda de telefonía tradicional</a:t>
            </a:r>
            <a:r>
              <a:rPr lang="es-ES" dirty="0" smtClean="0"/>
              <a:t>.</a:t>
            </a:r>
          </a:p>
          <a:p>
            <a:pPr algn="just"/>
            <a:endParaRPr lang="es-ES" sz="2000" dirty="0"/>
          </a:p>
          <a:p>
            <a:pPr marL="711200" lvl="1" indent="-347663">
              <a:buClr>
                <a:schemeClr val="accent6"/>
              </a:buClr>
              <a:buFont typeface="Wingdings" pitchFamily="2" charset="2"/>
              <a:buChar char="ü"/>
              <a:tabLst>
                <a:tab pos="711200" algn="l"/>
              </a:tabLst>
            </a:pPr>
            <a:r>
              <a:rPr lang="es-ES" sz="1500" dirty="0"/>
              <a:t>Eliminar las limitaciones de comunicación, haciendo un trabajo ágil y eficiente, mediante el uso compartido de la información y libre </a:t>
            </a:r>
            <a:r>
              <a:rPr lang="es-ES" sz="1500" dirty="0" smtClean="0"/>
              <a:t>comunicación</a:t>
            </a:r>
          </a:p>
          <a:p>
            <a:pPr marL="536575" lvl="1" indent="-274638">
              <a:buClr>
                <a:schemeClr val="accent6"/>
              </a:buClr>
              <a:tabLst>
                <a:tab pos="711200" algn="l"/>
              </a:tabLst>
            </a:pPr>
            <a:endParaRPr lang="es-ES" sz="1500" dirty="0"/>
          </a:p>
          <a:p>
            <a:pPr marL="711200" lvl="1" indent="-347663">
              <a:buClr>
                <a:schemeClr val="accent6"/>
              </a:buClr>
              <a:buFont typeface="Wingdings" pitchFamily="2" charset="2"/>
              <a:buChar char="ü"/>
              <a:tabLst>
                <a:tab pos="711200" algn="l"/>
              </a:tabLst>
            </a:pPr>
            <a:r>
              <a:rPr lang="es-ES" sz="1500" dirty="0"/>
              <a:t>Promover el uso de software libre en centrales telefónicas como reemplazo a las centrales telefónicas propietarias</a:t>
            </a:r>
            <a:r>
              <a:rPr lang="es-ES" sz="1500" dirty="0" smtClean="0"/>
              <a:t>.</a:t>
            </a:r>
          </a:p>
          <a:p>
            <a:pPr marL="536575" lvl="1" indent="-274638">
              <a:buClr>
                <a:schemeClr val="accent6"/>
              </a:buClr>
              <a:tabLst>
                <a:tab pos="711200" algn="l"/>
              </a:tabLst>
            </a:pPr>
            <a:endParaRPr lang="es-ES" sz="1500" dirty="0"/>
          </a:p>
          <a:p>
            <a:pPr marL="711200" lvl="1" indent="-347663">
              <a:buClr>
                <a:schemeClr val="accent6"/>
              </a:buClr>
              <a:buFont typeface="Wingdings" pitchFamily="2" charset="2"/>
              <a:buChar char="ü"/>
              <a:tabLst>
                <a:tab pos="711200" algn="l"/>
              </a:tabLst>
            </a:pPr>
            <a:r>
              <a:rPr lang="es-ES" sz="1500" dirty="0"/>
              <a:t>Reemplazar el uso de cables en teléfonos IP por teléfonos IP inalámbricos</a:t>
            </a:r>
            <a:r>
              <a:rPr lang="es-ES" sz="1500" dirty="0" smtClean="0"/>
              <a:t>.</a:t>
            </a:r>
          </a:p>
          <a:p>
            <a:pPr marL="536575" lvl="1" indent="-274638">
              <a:buClr>
                <a:schemeClr val="accent6"/>
              </a:buClr>
              <a:tabLst>
                <a:tab pos="711200" algn="l"/>
              </a:tabLst>
            </a:pPr>
            <a:endParaRPr lang="es-ES" sz="1500" dirty="0"/>
          </a:p>
          <a:p>
            <a:pPr marL="711200" lvl="1" indent="-347663">
              <a:buClr>
                <a:schemeClr val="accent6"/>
              </a:buClr>
              <a:buFont typeface="Wingdings" pitchFamily="2" charset="2"/>
              <a:buChar char="ü"/>
              <a:tabLst>
                <a:tab pos="711200" algn="l"/>
              </a:tabLst>
            </a:pPr>
            <a:r>
              <a:rPr lang="es-ES" sz="1500" dirty="0"/>
              <a:t>Definir un plan de manejo de llamadas eficiente entre entorno urbano y rural y la red de telefonía pública</a:t>
            </a:r>
            <a:r>
              <a:rPr lang="es-ES" sz="1500" dirty="0" smtClean="0"/>
              <a:t>.</a:t>
            </a:r>
          </a:p>
          <a:p>
            <a:pPr marL="536575" lvl="1" indent="-274638">
              <a:buClr>
                <a:schemeClr val="accent6"/>
              </a:buClr>
              <a:tabLst>
                <a:tab pos="711200" algn="l"/>
              </a:tabLst>
            </a:pPr>
            <a:endParaRPr lang="es-ES" sz="1500" dirty="0"/>
          </a:p>
          <a:p>
            <a:pPr marL="711200" lvl="1" indent="-347663">
              <a:buClr>
                <a:schemeClr val="accent6"/>
              </a:buClr>
              <a:buFont typeface="Wingdings" pitchFamily="2" charset="2"/>
              <a:buChar char="ü"/>
              <a:tabLst>
                <a:tab pos="711200" algn="l"/>
              </a:tabLst>
            </a:pPr>
            <a:r>
              <a:rPr lang="es-ES" sz="1500" dirty="0"/>
              <a:t>Utilizar estándares abiertos que han sido implementados con éxito en otras soluciones; que ofrecen escalabilidad, adaptabilidad y confiabilidad respecto a los cambios de tecnologías en la </a:t>
            </a:r>
            <a:r>
              <a:rPr lang="es-ES" sz="1500" dirty="0" smtClean="0"/>
              <a:t>actualidad</a:t>
            </a:r>
            <a:endParaRPr lang="es-ES" sz="1500" dirty="0"/>
          </a:p>
        </p:txBody>
      </p:sp>
      <p:sp>
        <p:nvSpPr>
          <p:cNvPr id="8" name="7 Título"/>
          <p:cNvSpPr>
            <a:spLocks noGrp="1"/>
          </p:cNvSpPr>
          <p:nvPr>
            <p:ph type="title"/>
          </p:nvPr>
        </p:nvSpPr>
        <p:spPr>
          <a:xfrm>
            <a:off x="273381" y="403933"/>
            <a:ext cx="8515350" cy="600075"/>
          </a:xfrm>
        </p:spPr>
        <p:txBody>
          <a:bodyPr/>
          <a:lstStyle/>
          <a:p>
            <a:r>
              <a:rPr lang="es-ES" sz="5000" b="0" dirty="0" smtClean="0"/>
              <a:t>Objetivos</a:t>
            </a:r>
            <a:endParaRPr lang="es-ES" sz="5000" b="0" dirty="0"/>
          </a:p>
        </p:txBody>
      </p:sp>
      <p:sp>
        <p:nvSpPr>
          <p:cNvPr id="6" name="5 CuadroTexto"/>
          <p:cNvSpPr txBox="1"/>
          <p:nvPr/>
        </p:nvSpPr>
        <p:spPr>
          <a:xfrm>
            <a:off x="6325386" y="6353666"/>
            <a:ext cx="258294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s-ES_tradnl" dirty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142876" y="0"/>
            <a:ext cx="7091139" cy="688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46" name="3 Marcador de pie de página"/>
          <p:cNvSpPr>
            <a:spLocks noGrp="1"/>
          </p:cNvSpPr>
          <p:nvPr>
            <p:ph type="ftr" sz="quarter" idx="10"/>
          </p:nvPr>
        </p:nvSpPr>
        <p:spPr>
          <a:xfrm>
            <a:off x="276225" y="6359525"/>
            <a:ext cx="3736975" cy="296863"/>
          </a:xfrm>
          <a:noFill/>
        </p:spPr>
        <p:txBody>
          <a:bodyPr/>
          <a:lstStyle/>
          <a:p>
            <a:r>
              <a:rPr lang="de-DE" dirty="0" smtClean="0">
                <a:sym typeface="Wingdings" pitchFamily="2" charset="2"/>
              </a:rPr>
              <a:t>VoIP en zonas rurales usando WiFi   </a:t>
            </a:r>
            <a:r>
              <a:rPr lang="de-DE" dirty="0" smtClean="0">
                <a:latin typeface="Arial" pitchFamily="34" charset="0"/>
                <a:sym typeface="Wingdings" pitchFamily="2" charset="2"/>
              </a:rPr>
              <a:t></a:t>
            </a:r>
            <a:r>
              <a:rPr lang="de-DE" dirty="0" smtClean="0">
                <a:latin typeface="Arial" pitchFamily="34" charset="0"/>
              </a:rPr>
              <a:t>  Pag </a:t>
            </a:r>
            <a:fld id="{0DDCB998-F752-4DFF-9610-E4FC8230729E}" type="slidenum">
              <a:rPr lang="de-DE" smtClean="0">
                <a:latin typeface="Arial" pitchFamily="34" charset="0"/>
              </a:rPr>
              <a:pPr/>
              <a:t>5</a:t>
            </a:fld>
            <a:endParaRPr lang="de-DE" dirty="0" smtClean="0">
              <a:latin typeface="Arial" pitchFamily="34" charset="0"/>
            </a:endParaRPr>
          </a:p>
        </p:txBody>
      </p:sp>
      <p:sp>
        <p:nvSpPr>
          <p:cNvPr id="6150" name="Rectangle 8"/>
          <p:cNvSpPr>
            <a:spLocks noChangeArrowheads="1"/>
          </p:cNvSpPr>
          <p:nvPr/>
        </p:nvSpPr>
        <p:spPr bwMode="auto">
          <a:xfrm>
            <a:off x="996288" y="1365646"/>
            <a:ext cx="7351008" cy="14861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t"/>
          <a:lstStyle/>
          <a:p>
            <a:pPr marL="363538" lvl="2" indent="-363538" algn="just">
              <a:buClr>
                <a:schemeClr val="accent6"/>
              </a:buClr>
              <a:buFont typeface="Wingdings" pitchFamily="2" charset="2"/>
              <a:buChar char="ü"/>
            </a:pPr>
            <a:r>
              <a:rPr lang="es-ES" dirty="0"/>
              <a:t>El proyecto se basó en diseñar un modelo de una red de comunicaciones basada en tecnología IEEE802.11b/g (</a:t>
            </a:r>
            <a:r>
              <a:rPr lang="es-ES" dirty="0" err="1"/>
              <a:t>WiFi</a:t>
            </a:r>
            <a:r>
              <a:rPr lang="es-ES" dirty="0"/>
              <a:t>) aplicando servicios de Voz sobre IP basada en </a:t>
            </a:r>
            <a:r>
              <a:rPr lang="es-ES" dirty="0" err="1"/>
              <a:t>Asterisk</a:t>
            </a:r>
            <a:r>
              <a:rPr lang="es-ES" dirty="0"/>
              <a:t> </a:t>
            </a:r>
            <a:r>
              <a:rPr lang="es-ES" dirty="0" smtClean="0"/>
              <a:t>para </a:t>
            </a:r>
            <a:r>
              <a:rPr lang="es-ES" dirty="0"/>
              <a:t>sitios de área geográfica </a:t>
            </a:r>
            <a:r>
              <a:rPr lang="es-ES" dirty="0" smtClean="0"/>
              <a:t>rural.</a:t>
            </a:r>
          </a:p>
          <a:p>
            <a:pPr marL="363538" lvl="2" indent="-363538" algn="just">
              <a:buClr>
                <a:schemeClr val="accent6"/>
              </a:buClr>
            </a:pPr>
            <a:endParaRPr lang="es-ES" dirty="0"/>
          </a:p>
        </p:txBody>
      </p:sp>
      <p:sp>
        <p:nvSpPr>
          <p:cNvPr id="8" name="7 Título"/>
          <p:cNvSpPr>
            <a:spLocks noGrp="1"/>
          </p:cNvSpPr>
          <p:nvPr>
            <p:ph type="title"/>
          </p:nvPr>
        </p:nvSpPr>
        <p:spPr>
          <a:xfrm>
            <a:off x="273381" y="403933"/>
            <a:ext cx="8515350" cy="600075"/>
          </a:xfrm>
        </p:spPr>
        <p:txBody>
          <a:bodyPr/>
          <a:lstStyle/>
          <a:p>
            <a:r>
              <a:rPr lang="es-ES" sz="4400" dirty="0" smtClean="0"/>
              <a:t>Descripción</a:t>
            </a:r>
            <a:endParaRPr lang="es-ES" sz="4400" dirty="0"/>
          </a:p>
        </p:txBody>
      </p:sp>
      <p:grpSp>
        <p:nvGrpSpPr>
          <p:cNvPr id="11" name="10 Grupo"/>
          <p:cNvGrpSpPr/>
          <p:nvPr/>
        </p:nvGrpSpPr>
        <p:grpSpPr>
          <a:xfrm>
            <a:off x="4189242" y="2629155"/>
            <a:ext cx="4945331" cy="3531261"/>
            <a:chOff x="4184155" y="3326739"/>
            <a:chExt cx="4945331" cy="3531261"/>
          </a:xfrm>
        </p:grpSpPr>
        <p:grpSp>
          <p:nvGrpSpPr>
            <p:cNvPr id="10" name="9 Grupo"/>
            <p:cNvGrpSpPr/>
            <p:nvPr/>
          </p:nvGrpSpPr>
          <p:grpSpPr>
            <a:xfrm>
              <a:off x="4184155" y="3326739"/>
              <a:ext cx="4945331" cy="3531261"/>
              <a:chOff x="4169641" y="3326739"/>
              <a:chExt cx="4945331" cy="3531261"/>
            </a:xfrm>
          </p:grpSpPr>
          <p:pic>
            <p:nvPicPr>
              <p:cNvPr id="6" name="5 Imagen" descr="red principal"/>
              <p:cNvPicPr/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4169641" y="3326739"/>
                <a:ext cx="4945331" cy="353126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28674" name="Text Box 2"/>
              <p:cNvSpPr txBox="1">
                <a:spLocks noChangeArrowheads="1"/>
              </p:cNvSpPr>
              <p:nvPr/>
            </p:nvSpPr>
            <p:spPr bwMode="auto">
              <a:xfrm>
                <a:off x="5975350" y="4163786"/>
                <a:ext cx="733425" cy="21907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ES" sz="800" b="1" i="0" u="none" strike="noStrike" cap="none" normalizeH="0" baseline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Arial" pitchFamily="34" charset="0"/>
                  </a:rPr>
                  <a:t>INTERNET</a:t>
                </a:r>
                <a:endParaRPr kumimoji="0" lang="es-ES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endParaRPr>
              </a:p>
            </p:txBody>
          </p:sp>
        </p:grpSp>
        <p:sp>
          <p:nvSpPr>
            <p:cNvPr id="28675" name="Text Box 3"/>
            <p:cNvSpPr txBox="1">
              <a:spLocks noChangeArrowheads="1"/>
            </p:cNvSpPr>
            <p:nvPr/>
          </p:nvSpPr>
          <p:spPr bwMode="auto">
            <a:xfrm>
              <a:off x="4542065" y="3763282"/>
              <a:ext cx="895350" cy="5143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</a:pPr>
              <a:r>
                <a:rPr kumimoji="0" lang="es-ES" sz="11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Entorno Urbano</a:t>
              </a:r>
              <a:endParaRPr kumimoji="0" lang="es-E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28676" name="Text Box 4"/>
            <p:cNvSpPr txBox="1">
              <a:spLocks noChangeArrowheads="1"/>
            </p:cNvSpPr>
            <p:nvPr/>
          </p:nvSpPr>
          <p:spPr bwMode="auto">
            <a:xfrm>
              <a:off x="7923893" y="5650139"/>
              <a:ext cx="895350" cy="5143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</a:pPr>
              <a:r>
                <a:rPr kumimoji="0" lang="es-ES" sz="11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Entorno Rural</a:t>
              </a:r>
              <a:endParaRPr kumimoji="0" lang="es-E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</p:grpSp>
      <p:sp>
        <p:nvSpPr>
          <p:cNvPr id="12" name="11 CuadroTexto"/>
          <p:cNvSpPr txBox="1"/>
          <p:nvPr/>
        </p:nvSpPr>
        <p:spPr>
          <a:xfrm>
            <a:off x="967509" y="3349315"/>
            <a:ext cx="3001176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8775" lvl="2" indent="-358775">
              <a:buClr>
                <a:schemeClr val="accent6"/>
              </a:buClr>
              <a:buFont typeface="Wingdings" pitchFamily="2" charset="2"/>
              <a:buChar char="ü"/>
            </a:pPr>
            <a:r>
              <a:rPr lang="es-ES" dirty="0" smtClean="0"/>
              <a:t>El diseño del modelo fue realizado siguiendo normas y estándares que al momento de implementarlo ofrecieron ventajas a nivel de costos y tecnología</a:t>
            </a:r>
          </a:p>
          <a:p>
            <a:endParaRPr lang="es-ES_tradnl" dirty="0"/>
          </a:p>
        </p:txBody>
      </p:sp>
      <p:sp>
        <p:nvSpPr>
          <p:cNvPr id="13" name="12 CuadroTexto"/>
          <p:cNvSpPr txBox="1"/>
          <p:nvPr/>
        </p:nvSpPr>
        <p:spPr>
          <a:xfrm>
            <a:off x="6297105" y="6315959"/>
            <a:ext cx="2545237" cy="369332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endParaRPr lang="es-ES_tradnl" dirty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142876" y="0"/>
            <a:ext cx="7091139" cy="688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46" name="3 Marcador de pie de página"/>
          <p:cNvSpPr>
            <a:spLocks noGrp="1"/>
          </p:cNvSpPr>
          <p:nvPr>
            <p:ph type="ftr" sz="quarter" idx="10"/>
          </p:nvPr>
        </p:nvSpPr>
        <p:spPr>
          <a:xfrm>
            <a:off x="276225" y="6359525"/>
            <a:ext cx="3736975" cy="296863"/>
          </a:xfrm>
          <a:noFill/>
        </p:spPr>
        <p:txBody>
          <a:bodyPr/>
          <a:lstStyle/>
          <a:p>
            <a:r>
              <a:rPr lang="de-DE" dirty="0" smtClean="0">
                <a:sym typeface="Wingdings" pitchFamily="2" charset="2"/>
              </a:rPr>
              <a:t>VoIP en zonas rurales usando WiFi   </a:t>
            </a:r>
            <a:r>
              <a:rPr lang="de-DE" dirty="0" smtClean="0">
                <a:latin typeface="Arial" pitchFamily="34" charset="0"/>
                <a:sym typeface="Wingdings" pitchFamily="2" charset="2"/>
              </a:rPr>
              <a:t></a:t>
            </a:r>
            <a:r>
              <a:rPr lang="de-DE" dirty="0" smtClean="0">
                <a:latin typeface="Arial" pitchFamily="34" charset="0"/>
              </a:rPr>
              <a:t>  Pag </a:t>
            </a:r>
            <a:fld id="{0DDCB998-F752-4DFF-9610-E4FC8230729E}" type="slidenum">
              <a:rPr lang="de-DE" smtClean="0">
                <a:latin typeface="Arial" pitchFamily="34" charset="0"/>
              </a:rPr>
              <a:pPr/>
              <a:t>6</a:t>
            </a:fld>
            <a:endParaRPr lang="de-DE" dirty="0" smtClean="0">
              <a:latin typeface="Arial" pitchFamily="34" charset="0"/>
            </a:endParaRPr>
          </a:p>
        </p:txBody>
      </p:sp>
      <p:sp>
        <p:nvSpPr>
          <p:cNvPr id="8" name="7 Título"/>
          <p:cNvSpPr>
            <a:spLocks noGrp="1"/>
          </p:cNvSpPr>
          <p:nvPr>
            <p:ph type="title"/>
          </p:nvPr>
        </p:nvSpPr>
        <p:spPr>
          <a:xfrm>
            <a:off x="273381" y="403933"/>
            <a:ext cx="8515350" cy="600075"/>
          </a:xfrm>
        </p:spPr>
        <p:txBody>
          <a:bodyPr/>
          <a:lstStyle/>
          <a:p>
            <a:r>
              <a:rPr lang="es-ES" sz="5000" b="0" dirty="0" smtClean="0"/>
              <a:t>Modelo de Red</a:t>
            </a:r>
            <a:endParaRPr lang="es-ES" sz="5000" b="0" dirty="0"/>
          </a:p>
        </p:txBody>
      </p:sp>
      <p:pic>
        <p:nvPicPr>
          <p:cNvPr id="11" name="10 Imagen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4802" y="1132115"/>
            <a:ext cx="8548912" cy="50219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11 CuadroTexto"/>
          <p:cNvSpPr txBox="1"/>
          <p:nvPr/>
        </p:nvSpPr>
        <p:spPr>
          <a:xfrm>
            <a:off x="3759200" y="1306286"/>
            <a:ext cx="26416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s-ES" dirty="0"/>
          </a:p>
        </p:txBody>
      </p:sp>
      <p:sp>
        <p:nvSpPr>
          <p:cNvPr id="13" name="12 CuadroTexto"/>
          <p:cNvSpPr txBox="1"/>
          <p:nvPr/>
        </p:nvSpPr>
        <p:spPr>
          <a:xfrm>
            <a:off x="6226629" y="6371771"/>
            <a:ext cx="265611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s-ES" dirty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42876" y="0"/>
            <a:ext cx="7091139" cy="688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0" name="1 Título"/>
          <p:cNvSpPr>
            <a:spLocks noGrp="1"/>
          </p:cNvSpPr>
          <p:nvPr>
            <p:ph type="title"/>
          </p:nvPr>
        </p:nvSpPr>
        <p:spPr>
          <a:xfrm>
            <a:off x="314325" y="578757"/>
            <a:ext cx="8515350" cy="600075"/>
          </a:xfrm>
        </p:spPr>
        <p:txBody>
          <a:bodyPr/>
          <a:lstStyle/>
          <a:p>
            <a:r>
              <a:rPr lang="de-DE" sz="5000" b="0" dirty="0" smtClean="0"/>
              <a:t>Metodología</a:t>
            </a:r>
            <a:endParaRPr lang="es-ES" sz="5000" b="0" dirty="0" smtClean="0"/>
          </a:p>
        </p:txBody>
      </p:sp>
      <p:sp>
        <p:nvSpPr>
          <p:cNvPr id="7171" name="3 Marcador de pie de página"/>
          <p:cNvSpPr>
            <a:spLocks noGrp="1"/>
          </p:cNvSpPr>
          <p:nvPr>
            <p:ph type="ftr" sz="quarter" idx="10"/>
          </p:nvPr>
        </p:nvSpPr>
        <p:spPr>
          <a:xfrm>
            <a:off x="276224" y="6408738"/>
            <a:ext cx="3447364" cy="247650"/>
          </a:xfrm>
          <a:noFill/>
        </p:spPr>
        <p:txBody>
          <a:bodyPr/>
          <a:lstStyle/>
          <a:p>
            <a:r>
              <a:rPr lang="de-DE" dirty="0" smtClean="0">
                <a:sym typeface="Wingdings" pitchFamily="2" charset="2"/>
              </a:rPr>
              <a:t>VoIP en zonas rurales usando WiFi   </a:t>
            </a:r>
            <a:r>
              <a:rPr lang="de-DE" dirty="0" smtClean="0">
                <a:latin typeface="Arial" pitchFamily="34" charset="0"/>
                <a:sym typeface="Wingdings" pitchFamily="2" charset="2"/>
              </a:rPr>
              <a:t></a:t>
            </a:r>
            <a:r>
              <a:rPr lang="de-DE" dirty="0" smtClean="0">
                <a:latin typeface="Arial" pitchFamily="34" charset="0"/>
              </a:rPr>
              <a:t>  Pag </a:t>
            </a:r>
            <a:fld id="{9F6DF784-F317-4650-8B2E-AFFFD54B7643}" type="slidenum">
              <a:rPr lang="de-DE" smtClean="0">
                <a:latin typeface="Arial" pitchFamily="34" charset="0"/>
              </a:rPr>
              <a:pPr/>
              <a:t>7</a:t>
            </a:fld>
            <a:endParaRPr lang="de-DE" dirty="0" smtClean="0">
              <a:latin typeface="Arial" pitchFamily="34" charset="0"/>
            </a:endParaRPr>
          </a:p>
        </p:txBody>
      </p:sp>
      <p:sp>
        <p:nvSpPr>
          <p:cNvPr id="9" name="3 Marcador de texto"/>
          <p:cNvSpPr txBox="1">
            <a:spLocks/>
          </p:cNvSpPr>
          <p:nvPr/>
        </p:nvSpPr>
        <p:spPr>
          <a:xfrm>
            <a:off x="841830" y="1454679"/>
            <a:ext cx="5036456" cy="4597778"/>
          </a:xfrm>
          <a:prstGeom prst="rect">
            <a:avLst/>
          </a:prstGeom>
        </p:spPr>
        <p:txBody>
          <a:bodyPr/>
          <a:lstStyle/>
          <a:p>
            <a:pPr marL="261938" indent="-261938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ü"/>
            </a:pPr>
            <a:r>
              <a:rPr lang="es-ES" dirty="0"/>
              <a:t>Para la ejecución de nuestro proyecto, se instaló </a:t>
            </a:r>
            <a:r>
              <a:rPr lang="es-ES" dirty="0" err="1"/>
              <a:t>Asterisk</a:t>
            </a:r>
            <a:r>
              <a:rPr lang="es-ES" dirty="0"/>
              <a:t> en dos servidores con sistema operativo </a:t>
            </a:r>
            <a:r>
              <a:rPr lang="es-ES" dirty="0" smtClean="0"/>
              <a:t>Linux </a:t>
            </a:r>
            <a:r>
              <a:rPr lang="es-ES" dirty="0" err="1"/>
              <a:t>CentOS</a:t>
            </a:r>
            <a:r>
              <a:rPr lang="es-ES" dirty="0"/>
              <a:t> 5.3, en el cual se configuró todos los archivos necesarios para habilitar el servicio de telefonía IP. </a:t>
            </a:r>
          </a:p>
          <a:p>
            <a:pPr marL="261938" lvl="0" indent="-261938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ü"/>
            </a:pPr>
            <a:r>
              <a:rPr lang="es-ES" dirty="0"/>
              <a:t>Se utilizó en el entorno urbano una tarjeta TDM400P, con canales FXO, para proveer la  salida y la entrada de llamadas hacia el entorno rural</a:t>
            </a:r>
            <a:r>
              <a:rPr lang="es-ES" dirty="0" smtClean="0"/>
              <a:t>.</a:t>
            </a:r>
          </a:p>
          <a:p>
            <a:pPr marL="261938" lvl="0" indent="-261938" algn="just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ü"/>
            </a:pPr>
            <a:r>
              <a:rPr lang="es-ES" dirty="0"/>
              <a:t>En el entorno rural se usó un Punto de Acceso (AP), con una configuración personalizada de acuerdo a los parámetros de seguridad requeridos para este tipo de </a:t>
            </a:r>
            <a:r>
              <a:rPr lang="es-ES" dirty="0" smtClean="0"/>
              <a:t>diseños en el que se conectarán los teléfonos IP inalámbricos.</a:t>
            </a:r>
            <a:endParaRPr kumimoji="0" lang="es-ES" sz="20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90500" marR="0" lvl="0" indent="-190500" algn="l" defTabSz="914400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Tx/>
              <a:tabLst/>
              <a:defRPr/>
            </a:pPr>
            <a:endParaRPr kumimoji="0" lang="es-ES" sz="20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6325386" y="6353666"/>
            <a:ext cx="258294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s-ES_tradnl" dirty="0"/>
          </a:p>
        </p:txBody>
      </p:sp>
      <p:pic>
        <p:nvPicPr>
          <p:cNvPr id="36866" name="Picture 2" descr="http://t2.gstatic.com/images?q=tbn:ANd9GcRCD7HH2rBYQuff1SOvwHwwPDI7I1rxoA4w-TcpoQPNvT4X-AjNUd8ktDo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02793" y="1546746"/>
            <a:ext cx="1185674" cy="1196453"/>
          </a:xfrm>
          <a:prstGeom prst="rect">
            <a:avLst/>
          </a:prstGeom>
          <a:noFill/>
        </p:spPr>
      </p:pic>
      <p:pic>
        <p:nvPicPr>
          <p:cNvPr id="36874" name="Picture 10" descr="http://www.isoimsa.com/tienda/images/uploads/tdm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385389" y="2828042"/>
            <a:ext cx="2114610" cy="1800781"/>
          </a:xfrm>
          <a:prstGeom prst="rect">
            <a:avLst/>
          </a:prstGeom>
          <a:noFill/>
        </p:spPr>
      </p:pic>
      <p:pic>
        <p:nvPicPr>
          <p:cNvPr id="36876" name="Picture 12" descr="Wireless Access Point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551629" y="4815766"/>
            <a:ext cx="1504092" cy="1238664"/>
          </a:xfrm>
          <a:prstGeom prst="rect">
            <a:avLst/>
          </a:prstGeom>
          <a:noFill/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42876" y="0"/>
            <a:ext cx="7091139" cy="688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0" name="1 Título"/>
          <p:cNvSpPr>
            <a:spLocks noGrp="1"/>
          </p:cNvSpPr>
          <p:nvPr>
            <p:ph type="title"/>
          </p:nvPr>
        </p:nvSpPr>
        <p:spPr>
          <a:xfrm>
            <a:off x="314325" y="578757"/>
            <a:ext cx="8515350" cy="600075"/>
          </a:xfrm>
        </p:spPr>
        <p:txBody>
          <a:bodyPr/>
          <a:lstStyle/>
          <a:p>
            <a:r>
              <a:rPr lang="de-DE" sz="5000" b="0" dirty="0" smtClean="0"/>
              <a:t>Componentes</a:t>
            </a:r>
            <a:endParaRPr lang="es-ES" sz="5000" b="0" dirty="0" smtClean="0"/>
          </a:p>
        </p:txBody>
      </p:sp>
      <p:sp>
        <p:nvSpPr>
          <p:cNvPr id="7171" name="3 Marcador de pie de página"/>
          <p:cNvSpPr>
            <a:spLocks noGrp="1"/>
          </p:cNvSpPr>
          <p:nvPr>
            <p:ph type="ftr" sz="quarter" idx="10"/>
          </p:nvPr>
        </p:nvSpPr>
        <p:spPr>
          <a:xfrm>
            <a:off x="276225" y="6408738"/>
            <a:ext cx="3767874" cy="247650"/>
          </a:xfrm>
          <a:noFill/>
        </p:spPr>
        <p:txBody>
          <a:bodyPr/>
          <a:lstStyle/>
          <a:p>
            <a:r>
              <a:rPr lang="de-DE" dirty="0" smtClean="0">
                <a:sym typeface="Wingdings" pitchFamily="2" charset="2"/>
              </a:rPr>
              <a:t>VoIP en zonas rurales usando WiFi   </a:t>
            </a:r>
            <a:r>
              <a:rPr lang="de-DE" dirty="0" smtClean="0">
                <a:latin typeface="Arial" pitchFamily="34" charset="0"/>
                <a:sym typeface="Wingdings" pitchFamily="2" charset="2"/>
              </a:rPr>
              <a:t></a:t>
            </a:r>
            <a:r>
              <a:rPr lang="de-DE" dirty="0" smtClean="0">
                <a:latin typeface="Arial" pitchFamily="34" charset="0"/>
              </a:rPr>
              <a:t>  Pag </a:t>
            </a:r>
            <a:fld id="{9F6DF784-F317-4650-8B2E-AFFFD54B7643}" type="slidenum">
              <a:rPr lang="de-DE" smtClean="0">
                <a:latin typeface="Arial" pitchFamily="34" charset="0"/>
              </a:rPr>
              <a:pPr/>
              <a:t>8</a:t>
            </a:fld>
            <a:endParaRPr lang="de-DE" dirty="0" smtClean="0">
              <a:latin typeface="Arial" pitchFamily="34" charset="0"/>
            </a:endParaRPr>
          </a:p>
        </p:txBody>
      </p:sp>
      <p:sp>
        <p:nvSpPr>
          <p:cNvPr id="9" name="3 Marcador de texto"/>
          <p:cNvSpPr txBox="1">
            <a:spLocks/>
          </p:cNvSpPr>
          <p:nvPr/>
        </p:nvSpPr>
        <p:spPr>
          <a:xfrm>
            <a:off x="841830" y="1977183"/>
            <a:ext cx="5036456" cy="4147835"/>
          </a:xfrm>
          <a:prstGeom prst="rect">
            <a:avLst/>
          </a:prstGeom>
        </p:spPr>
        <p:txBody>
          <a:bodyPr/>
          <a:lstStyle/>
          <a:p>
            <a:pPr marL="190500" marR="0" lvl="0" indent="-190500" algn="l" defTabSz="914400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Char char="ü"/>
              <a:tabLst/>
              <a:defRPr/>
            </a:pPr>
            <a:r>
              <a:rPr kumimoji="0" lang="es-ES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Hardware</a:t>
            </a:r>
          </a:p>
          <a:p>
            <a:pPr marL="647700" lvl="1" indent="-190500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ü"/>
            </a:pPr>
            <a:r>
              <a:rPr lang="es-ES" sz="2000" kern="0" dirty="0" smtClean="0">
                <a:latin typeface="+mn-lt"/>
              </a:rPr>
              <a:t>Servidor</a:t>
            </a:r>
          </a:p>
          <a:p>
            <a:pPr marL="647700" lvl="1" indent="-190500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ü"/>
            </a:pPr>
            <a:r>
              <a:rPr lang="es-ES" sz="2000" kern="0" noProof="0" dirty="0" smtClean="0">
                <a:latin typeface="+mn-lt"/>
              </a:rPr>
              <a:t>Teléfono IP inalámbrico</a:t>
            </a:r>
          </a:p>
          <a:p>
            <a:pPr marL="647700" lvl="1" indent="-190500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ü"/>
            </a:pPr>
            <a:r>
              <a:rPr kumimoji="0" lang="es-ES" sz="2000" b="0" i="0" u="none" strike="noStrike" kern="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unto</a:t>
            </a:r>
            <a:r>
              <a:rPr kumimoji="0" lang="es-ES" sz="2000" b="0" i="0" u="none" strike="noStrike" kern="0" cap="none" spc="0" normalizeH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de Acceso</a:t>
            </a:r>
          </a:p>
          <a:p>
            <a:pPr marL="647700" lvl="1" indent="-190500">
              <a:spcBef>
                <a:spcPct val="40000"/>
              </a:spcBef>
              <a:buClr>
                <a:schemeClr val="accent1"/>
              </a:buClr>
            </a:pPr>
            <a:endParaRPr kumimoji="0" lang="es-ES" sz="20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90500" marR="0" lvl="0" indent="-190500" algn="l" defTabSz="914400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Char char="ü"/>
              <a:tabLst/>
              <a:defRPr/>
            </a:pPr>
            <a:r>
              <a:rPr lang="es-ES" sz="2000" kern="0" dirty="0" smtClean="0">
                <a:latin typeface="+mn-lt"/>
              </a:rPr>
              <a:t>Software</a:t>
            </a:r>
            <a:endParaRPr lang="es-ES" sz="2000" kern="0" dirty="0">
              <a:latin typeface="+mn-lt"/>
            </a:endParaRPr>
          </a:p>
          <a:p>
            <a:pPr marL="647700" lvl="1" indent="-190500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ü"/>
            </a:pPr>
            <a:r>
              <a:rPr kumimoji="0" lang="es-ES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inux</a:t>
            </a:r>
            <a:r>
              <a:rPr kumimoji="0" lang="es-ES" sz="2000" b="0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s-ES" sz="2000" b="0" i="0" u="none" strike="noStrike" kern="0" cap="none" spc="0" normalizeH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entos</a:t>
            </a:r>
            <a:r>
              <a:rPr kumimoji="0" lang="es-ES" sz="2000" b="0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5.3</a:t>
            </a:r>
          </a:p>
          <a:p>
            <a:pPr marL="647700" lvl="1" indent="-190500">
              <a:spcBef>
                <a:spcPct val="40000"/>
              </a:spcBef>
              <a:buClr>
                <a:schemeClr val="accent1"/>
              </a:buClr>
              <a:buFont typeface="Wingdings" pitchFamily="2" charset="2"/>
              <a:buChar char="ü"/>
            </a:pPr>
            <a:r>
              <a:rPr lang="es-ES" sz="2000" kern="0" baseline="0" dirty="0" err="1" smtClean="0">
                <a:latin typeface="+mn-lt"/>
              </a:rPr>
              <a:t>Asterisk</a:t>
            </a:r>
            <a:endParaRPr kumimoji="0" lang="es-ES" sz="20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90500" marR="0" lvl="0" indent="-190500" algn="l" defTabSz="914400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Char char="•"/>
              <a:tabLst/>
              <a:defRPr/>
            </a:pPr>
            <a:endParaRPr kumimoji="0" lang="es-ES" sz="20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28000" y="1500150"/>
            <a:ext cx="1119476" cy="128075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35842" name="Picture 2" descr="http://withfriendship.com/images/e/21758/Asterisk-image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898692" y="5038791"/>
            <a:ext cx="1256252" cy="704679"/>
          </a:xfrm>
          <a:prstGeom prst="rect">
            <a:avLst/>
          </a:prstGeom>
          <a:noFill/>
        </p:spPr>
      </p:pic>
      <p:sp>
        <p:nvSpPr>
          <p:cNvPr id="10" name="9 CuadroTexto"/>
          <p:cNvSpPr txBox="1"/>
          <p:nvPr/>
        </p:nvSpPr>
        <p:spPr>
          <a:xfrm>
            <a:off x="6325386" y="6353666"/>
            <a:ext cx="258294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s-ES_tradnl" dirty="0"/>
          </a:p>
        </p:txBody>
      </p:sp>
      <p:pic>
        <p:nvPicPr>
          <p:cNvPr id="35844" name="Picture 4" descr="http://sw.nohold.net/Cisco2/Images/6891-001.jpg"/>
          <p:cNvPicPr>
            <a:picLocks noChangeAspect="1" noChangeArrowheads="1"/>
          </p:cNvPicPr>
          <p:nvPr/>
        </p:nvPicPr>
        <p:blipFill>
          <a:blip r:embed="rId5" cstate="print"/>
          <a:srcRect t="65301" r="41819" b="6533"/>
          <a:stretch>
            <a:fillRect/>
          </a:stretch>
        </p:blipFill>
        <p:spPr bwMode="auto">
          <a:xfrm>
            <a:off x="4833463" y="3252247"/>
            <a:ext cx="3169893" cy="1376314"/>
          </a:xfrm>
          <a:prstGeom prst="rect">
            <a:avLst/>
          </a:prstGeom>
          <a:noFill/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42876" y="0"/>
            <a:ext cx="7091139" cy="688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0" name="1 Título"/>
          <p:cNvSpPr>
            <a:spLocks noGrp="1"/>
          </p:cNvSpPr>
          <p:nvPr>
            <p:ph type="title"/>
          </p:nvPr>
        </p:nvSpPr>
        <p:spPr>
          <a:xfrm>
            <a:off x="314325" y="578757"/>
            <a:ext cx="8515350" cy="600075"/>
          </a:xfrm>
        </p:spPr>
        <p:txBody>
          <a:bodyPr/>
          <a:lstStyle/>
          <a:p>
            <a:r>
              <a:rPr lang="de-DE" sz="5000" b="0" dirty="0" smtClean="0"/>
              <a:t>Hardware</a:t>
            </a:r>
            <a:endParaRPr lang="es-ES" sz="5000" b="0" dirty="0" smtClean="0"/>
          </a:p>
        </p:txBody>
      </p:sp>
      <p:sp>
        <p:nvSpPr>
          <p:cNvPr id="7171" name="3 Marcador de pie de página"/>
          <p:cNvSpPr>
            <a:spLocks noGrp="1"/>
          </p:cNvSpPr>
          <p:nvPr>
            <p:ph type="ftr" sz="quarter" idx="10"/>
          </p:nvPr>
        </p:nvSpPr>
        <p:spPr>
          <a:xfrm>
            <a:off x="276224" y="6408738"/>
            <a:ext cx="3730167" cy="247650"/>
          </a:xfrm>
          <a:noFill/>
        </p:spPr>
        <p:txBody>
          <a:bodyPr/>
          <a:lstStyle/>
          <a:p>
            <a:r>
              <a:rPr lang="de-DE" dirty="0" smtClean="0">
                <a:sym typeface="Wingdings" pitchFamily="2" charset="2"/>
              </a:rPr>
              <a:t>VoIP en zonas rurales usando WiFi   </a:t>
            </a:r>
            <a:r>
              <a:rPr lang="de-DE" dirty="0" smtClean="0">
                <a:latin typeface="Arial" pitchFamily="34" charset="0"/>
                <a:sym typeface="Wingdings" pitchFamily="2" charset="2"/>
              </a:rPr>
              <a:t></a:t>
            </a:r>
            <a:r>
              <a:rPr lang="de-DE" dirty="0" smtClean="0">
                <a:latin typeface="Arial" pitchFamily="34" charset="0"/>
              </a:rPr>
              <a:t>  Pag </a:t>
            </a:r>
            <a:fld id="{9F6DF784-F317-4650-8B2E-AFFFD54B7643}" type="slidenum">
              <a:rPr lang="de-DE" smtClean="0">
                <a:latin typeface="Arial" pitchFamily="34" charset="0"/>
              </a:rPr>
              <a:pPr/>
              <a:t>9</a:t>
            </a:fld>
            <a:endParaRPr lang="de-DE" dirty="0" smtClean="0">
              <a:latin typeface="Arial" pitchFamily="34" charset="0"/>
            </a:endParaRPr>
          </a:p>
        </p:txBody>
      </p:sp>
      <p:sp>
        <p:nvSpPr>
          <p:cNvPr id="9" name="3 Marcador de texto"/>
          <p:cNvSpPr txBox="1">
            <a:spLocks/>
          </p:cNvSpPr>
          <p:nvPr/>
        </p:nvSpPr>
        <p:spPr>
          <a:xfrm>
            <a:off x="841829" y="1483698"/>
            <a:ext cx="7750627" cy="4147835"/>
          </a:xfrm>
          <a:prstGeom prst="rect">
            <a:avLst/>
          </a:prstGeom>
        </p:spPr>
        <p:txBody>
          <a:bodyPr/>
          <a:lstStyle/>
          <a:p>
            <a:pPr marL="190500" marR="0" lvl="0" indent="-190500" algn="l" defTabSz="914400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Tx/>
              <a:buFont typeface="Wingdings" pitchFamily="2" charset="2"/>
              <a:buChar char="ü"/>
              <a:tabLst/>
              <a:defRPr/>
            </a:pPr>
            <a:r>
              <a:rPr kumimoji="0" lang="es-ES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lang="es-ES" sz="2000" kern="0" dirty="0" smtClean="0">
                <a:latin typeface="+mn-lt"/>
              </a:rPr>
              <a:t>Servidor</a:t>
            </a:r>
          </a:p>
          <a:p>
            <a:pPr marL="647700" lvl="1" indent="-190500">
              <a:spcBef>
                <a:spcPct val="40000"/>
              </a:spcBef>
              <a:buClr>
                <a:schemeClr val="accent1"/>
              </a:buClr>
            </a:pPr>
            <a:r>
              <a:rPr lang="es-ES" kern="0" dirty="0" smtClean="0">
                <a:latin typeface="+mn-lt"/>
              </a:rPr>
              <a:t>Se usará como PBX a un servidor </a:t>
            </a:r>
            <a:r>
              <a:rPr lang="es-ES" kern="0" dirty="0" err="1" smtClean="0">
                <a:latin typeface="+mn-lt"/>
              </a:rPr>
              <a:t>Asterisk</a:t>
            </a:r>
            <a:r>
              <a:rPr lang="es-ES" kern="0" dirty="0" smtClean="0">
                <a:latin typeface="+mn-lt"/>
              </a:rPr>
              <a:t> sobre la plataforma Linux (</a:t>
            </a:r>
            <a:r>
              <a:rPr lang="es-ES" kern="0" dirty="0" err="1" smtClean="0">
                <a:latin typeface="+mn-lt"/>
              </a:rPr>
              <a:t>Centos</a:t>
            </a:r>
            <a:r>
              <a:rPr lang="es-ES" kern="0" dirty="0" smtClean="0">
                <a:latin typeface="+mn-lt"/>
              </a:rPr>
              <a:t> 5.3)</a:t>
            </a:r>
          </a:p>
          <a:p>
            <a:pPr marL="647700" lvl="1" indent="-190500">
              <a:spcBef>
                <a:spcPct val="40000"/>
              </a:spcBef>
              <a:buClr>
                <a:schemeClr val="accent1"/>
              </a:buClr>
            </a:pPr>
            <a:endParaRPr lang="es-ES" kern="0" dirty="0">
              <a:latin typeface="+mn-lt"/>
            </a:endParaRPr>
          </a:p>
          <a:p>
            <a:pPr marL="261938" lvl="1" indent="-87313">
              <a:spcBef>
                <a:spcPct val="40000"/>
              </a:spcBef>
              <a:buClr>
                <a:schemeClr val="accent1"/>
              </a:buClr>
            </a:pPr>
            <a:r>
              <a:rPr lang="es-ES" b="1" kern="0" dirty="0" smtClean="0">
                <a:latin typeface="+mn-lt"/>
              </a:rPr>
              <a:t>Características</a:t>
            </a:r>
          </a:p>
          <a:p>
            <a:pPr marL="647700" lvl="1" indent="-190500">
              <a:spcBef>
                <a:spcPct val="40000"/>
              </a:spcBef>
              <a:buClr>
                <a:schemeClr val="accent1"/>
              </a:buClr>
            </a:pPr>
            <a:endParaRPr kumimoji="0" lang="es-ES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aphicFrame>
        <p:nvGraphicFramePr>
          <p:cNvPr id="7" name="6 Tabla"/>
          <p:cNvGraphicFramePr>
            <a:graphicFrameLocks noGrp="1"/>
          </p:cNvGraphicFramePr>
          <p:nvPr/>
        </p:nvGraphicFramePr>
        <p:xfrm>
          <a:off x="1117600" y="3341919"/>
          <a:ext cx="4413736" cy="1463040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2228663"/>
                <a:gridCol w="2185073"/>
              </a:tblGrid>
              <a:tr h="214314">
                <a:tc>
                  <a:txBody>
                    <a:bodyPr/>
                    <a:lstStyle/>
                    <a:p>
                      <a:pPr algn="l">
                        <a:lnSpc>
                          <a:spcPct val="200000"/>
                        </a:lnSpc>
                        <a:spcAft>
                          <a:spcPts val="0"/>
                        </a:spcAft>
                      </a:pPr>
                      <a:r>
                        <a:rPr lang="es-ES_tradnl" sz="12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rocesador</a:t>
                      </a:r>
                      <a:endParaRPr lang="es-ES" sz="12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200000"/>
                        </a:lnSpc>
                        <a:spcAft>
                          <a:spcPts val="0"/>
                        </a:spcAft>
                      </a:pPr>
                      <a:r>
                        <a:rPr lang="es-ES" sz="1200" kern="1200" dirty="0" smtClean="0"/>
                        <a:t>Intel </a:t>
                      </a:r>
                      <a:r>
                        <a:rPr lang="es-ES" sz="1200" kern="1200" dirty="0" err="1" smtClean="0"/>
                        <a:t>Xeon</a:t>
                      </a:r>
                      <a:r>
                        <a:rPr lang="es-ES" sz="1200" kern="1200" dirty="0" smtClean="0"/>
                        <a:t> </a:t>
                      </a:r>
                      <a:r>
                        <a:rPr lang="es-ES" sz="1200" kern="1200" dirty="0" err="1" smtClean="0"/>
                        <a:t>Quad</a:t>
                      </a:r>
                      <a:r>
                        <a:rPr lang="es-ES" sz="1200" kern="1200" baseline="0" dirty="0" smtClean="0"/>
                        <a:t> </a:t>
                      </a:r>
                      <a:r>
                        <a:rPr lang="es-ES" sz="1200" kern="1200" baseline="0" dirty="0" err="1" smtClean="0"/>
                        <a:t>Core</a:t>
                      </a:r>
                      <a:r>
                        <a:rPr lang="es-ES" sz="1200" kern="1200" dirty="0" smtClean="0"/>
                        <a:t> 2,4 </a:t>
                      </a:r>
                      <a:r>
                        <a:rPr lang="es-ES" sz="1200" kern="1200" dirty="0" err="1" smtClean="0"/>
                        <a:t>Ghz</a:t>
                      </a:r>
                      <a:endParaRPr lang="es-ES" sz="1000" dirty="0"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</a:tr>
              <a:tr h="365760">
                <a:tc>
                  <a:txBody>
                    <a:bodyPr/>
                    <a:lstStyle/>
                    <a:p>
                      <a:pPr algn="l">
                        <a:lnSpc>
                          <a:spcPct val="200000"/>
                        </a:lnSpc>
                        <a:spcAft>
                          <a:spcPts val="0"/>
                        </a:spcAft>
                      </a:pPr>
                      <a:r>
                        <a:rPr lang="es-ES_tradnl" sz="12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RAM</a:t>
                      </a:r>
                      <a:endParaRPr lang="es-ES" sz="12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200000"/>
                        </a:lnSpc>
                        <a:spcAft>
                          <a:spcPts val="0"/>
                        </a:spcAft>
                      </a:pPr>
                      <a:r>
                        <a:rPr lang="es-ES_tradnl" sz="1200" dirty="0" smtClean="0"/>
                        <a:t>2 </a:t>
                      </a:r>
                      <a:r>
                        <a:rPr lang="es-ES_tradnl" sz="1200" dirty="0"/>
                        <a:t>GB</a:t>
                      </a:r>
                      <a:endParaRPr lang="es-ES" sz="1200" dirty="0"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</a:tr>
              <a:tr h="365760">
                <a:tc>
                  <a:txBody>
                    <a:bodyPr/>
                    <a:lstStyle/>
                    <a:p>
                      <a:pPr algn="l">
                        <a:lnSpc>
                          <a:spcPct val="200000"/>
                        </a:lnSpc>
                        <a:spcAft>
                          <a:spcPts val="0"/>
                        </a:spcAft>
                      </a:pPr>
                      <a:r>
                        <a:rPr lang="es-ES_tradnl" sz="12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Disco Duro</a:t>
                      </a:r>
                      <a:endParaRPr lang="es-ES" sz="12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200000"/>
                        </a:lnSpc>
                        <a:spcAft>
                          <a:spcPts val="0"/>
                        </a:spcAft>
                      </a:pPr>
                      <a:r>
                        <a:rPr lang="es-ES_tradnl" sz="1200" dirty="0" smtClean="0"/>
                        <a:t>250GB</a:t>
                      </a:r>
                      <a:endParaRPr lang="es-ES" sz="1200" dirty="0"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</a:tr>
              <a:tr h="365760">
                <a:tc>
                  <a:txBody>
                    <a:bodyPr/>
                    <a:lstStyle/>
                    <a:p>
                      <a:pPr algn="l">
                        <a:lnSpc>
                          <a:spcPct val="200000"/>
                        </a:lnSpc>
                        <a:spcAft>
                          <a:spcPts val="0"/>
                        </a:spcAft>
                      </a:pPr>
                      <a:r>
                        <a:rPr lang="es-ES_tradnl" sz="12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Tarjeta de Red</a:t>
                      </a:r>
                      <a:endParaRPr lang="es-ES" sz="12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200000"/>
                        </a:lnSpc>
                        <a:spcAft>
                          <a:spcPts val="0"/>
                        </a:spcAft>
                      </a:pPr>
                      <a:r>
                        <a:rPr lang="es-ES_tradnl" sz="1200" dirty="0" smtClean="0"/>
                        <a:t>10/100/1000 </a:t>
                      </a:r>
                      <a:r>
                        <a:rPr lang="es-ES_tradnl" sz="1200" dirty="0"/>
                        <a:t>Mbps</a:t>
                      </a:r>
                      <a:endParaRPr lang="es-ES" sz="1200" dirty="0"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graphicFrame>
        <p:nvGraphicFramePr>
          <p:cNvPr id="10" name="9 Tabla"/>
          <p:cNvGraphicFramePr>
            <a:graphicFrameLocks noGrp="1"/>
          </p:cNvGraphicFramePr>
          <p:nvPr/>
        </p:nvGraphicFramePr>
        <p:xfrm>
          <a:off x="1103086" y="4954820"/>
          <a:ext cx="4428248" cy="731520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2264229"/>
                <a:gridCol w="2164019"/>
              </a:tblGrid>
              <a:tr h="38975">
                <a:tc>
                  <a:txBody>
                    <a:bodyPr/>
                    <a:lstStyle/>
                    <a:p>
                      <a:pPr marL="270510" algn="l">
                        <a:lnSpc>
                          <a:spcPct val="200000"/>
                        </a:lnSpc>
                        <a:spcAft>
                          <a:spcPts val="0"/>
                        </a:spcAft>
                      </a:pPr>
                      <a:r>
                        <a:rPr lang="es-ES_tradnl" sz="12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Sistema Operativo</a:t>
                      </a:r>
                      <a:endParaRPr lang="es-ES" sz="12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270510" algn="l">
                        <a:lnSpc>
                          <a:spcPct val="200000"/>
                        </a:lnSpc>
                        <a:spcAft>
                          <a:spcPts val="0"/>
                        </a:spcAft>
                      </a:pPr>
                      <a:r>
                        <a:rPr lang="es-ES_tradnl" sz="1200" dirty="0" err="1" smtClean="0"/>
                        <a:t>Centos</a:t>
                      </a:r>
                      <a:r>
                        <a:rPr lang="es-ES_tradnl" sz="1200" baseline="0" dirty="0" smtClean="0"/>
                        <a:t> </a:t>
                      </a:r>
                      <a:r>
                        <a:rPr lang="es-ES_tradnl" sz="1200" dirty="0" smtClean="0"/>
                        <a:t>Linux 5.3</a:t>
                      </a:r>
                      <a:endParaRPr lang="es-ES" sz="1200" dirty="0"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</a:tr>
              <a:tr h="38975">
                <a:tc>
                  <a:txBody>
                    <a:bodyPr/>
                    <a:lstStyle/>
                    <a:p>
                      <a:pPr marL="270510" algn="l">
                        <a:lnSpc>
                          <a:spcPct val="200000"/>
                        </a:lnSpc>
                        <a:spcAft>
                          <a:spcPts val="0"/>
                        </a:spcAft>
                      </a:pPr>
                      <a:r>
                        <a:rPr lang="es-ES_tradnl" sz="12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Software IP PBX</a:t>
                      </a:r>
                      <a:endParaRPr lang="es-ES" sz="12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270510" algn="l">
                        <a:lnSpc>
                          <a:spcPct val="200000"/>
                        </a:lnSpc>
                        <a:spcAft>
                          <a:spcPts val="0"/>
                        </a:spcAft>
                        <a:tabLst>
                          <a:tab pos="1419225" algn="l"/>
                        </a:tabLst>
                      </a:pPr>
                      <a:r>
                        <a:rPr lang="es-ES_tradnl" sz="1200" dirty="0"/>
                        <a:t>Asterisk versión </a:t>
                      </a:r>
                      <a:r>
                        <a:rPr lang="es-ES_tradnl" sz="1200" dirty="0" smtClean="0"/>
                        <a:t>1.4.13</a:t>
                      </a:r>
                      <a:endParaRPr lang="es-ES" sz="1200" dirty="0"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75134" y="3347803"/>
            <a:ext cx="1894658" cy="216761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12" name="11 CuadroTexto"/>
          <p:cNvSpPr txBox="1"/>
          <p:nvPr/>
        </p:nvSpPr>
        <p:spPr>
          <a:xfrm>
            <a:off x="6325386" y="6353666"/>
            <a:ext cx="258294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s-ES_tradnl" dirty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KE-OFF DISPLAYTYPE" val="0"/>
  <p:tag name="THINKCELLUNDODONOTDELET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WvWKD1qy0qs3QPtFxxLZ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ptFLU8EmW8ZqSOTh0hw"/>
</p:tagLst>
</file>

<file path=ppt/theme/theme1.xml><?xml version="1.0" encoding="utf-8"?>
<a:theme xmlns:a="http://schemas.openxmlformats.org/drawingml/2006/main" name="Standarddesign">
  <a:themeElements>
    <a:clrScheme name="Standarddesign 1">
      <a:dk1>
        <a:srgbClr val="000000"/>
      </a:dk1>
      <a:lt1>
        <a:srgbClr val="FFFFFF"/>
      </a:lt1>
      <a:dk2>
        <a:srgbClr val="0D3D65"/>
      </a:dk2>
      <a:lt2>
        <a:srgbClr val="BE0009"/>
      </a:lt2>
      <a:accent1>
        <a:srgbClr val="1C4C74"/>
      </a:accent1>
      <a:accent2>
        <a:srgbClr val="2C6D92"/>
      </a:accent2>
      <a:accent3>
        <a:srgbClr val="FFFFFF"/>
      </a:accent3>
      <a:accent4>
        <a:srgbClr val="000000"/>
      </a:accent4>
      <a:accent5>
        <a:srgbClr val="ABB2BC"/>
      </a:accent5>
      <a:accent6>
        <a:srgbClr val="276284"/>
      </a:accent6>
      <a:hlink>
        <a:srgbClr val="4797B9"/>
      </a:hlink>
      <a:folHlink>
        <a:srgbClr val="65C3E3"/>
      </a:folHlink>
    </a:clrScheme>
    <a:fontScheme name="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0D3D65"/>
        </a:dk2>
        <a:lt2>
          <a:srgbClr val="BE0009"/>
        </a:lt2>
        <a:accent1>
          <a:srgbClr val="1C4C74"/>
        </a:accent1>
        <a:accent2>
          <a:srgbClr val="2C6D92"/>
        </a:accent2>
        <a:accent3>
          <a:srgbClr val="FFFFFF"/>
        </a:accent3>
        <a:accent4>
          <a:srgbClr val="000000"/>
        </a:accent4>
        <a:accent5>
          <a:srgbClr val="ABB2BC"/>
        </a:accent5>
        <a:accent6>
          <a:srgbClr val="276284"/>
        </a:accent6>
        <a:hlink>
          <a:srgbClr val="4797B9"/>
        </a:hlink>
        <a:folHlink>
          <a:srgbClr val="65C3E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23</TotalTime>
  <Words>1397</Words>
  <Application>Microsoft Office PowerPoint</Application>
  <PresentationFormat>Presentación en pantalla (4:3)</PresentationFormat>
  <Paragraphs>221</Paragraphs>
  <Slides>20</Slides>
  <Notes>9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0</vt:i4>
      </vt:variant>
      <vt:variant>
        <vt:lpstr>Títulos de diapositiva</vt:lpstr>
      </vt:variant>
      <vt:variant>
        <vt:i4>20</vt:i4>
      </vt:variant>
    </vt:vector>
  </HeadingPairs>
  <TitlesOfParts>
    <vt:vector size="21" baseType="lpstr">
      <vt:lpstr>Standarddesign</vt:lpstr>
      <vt:lpstr>Diseño del Modelo de una Red WiFi con Servicios de Telefonía IP con enlaces de larga distancia en zonas rurales como solución a la demanda de telefonía tradicional</vt:lpstr>
      <vt:lpstr>Antecedentes</vt:lpstr>
      <vt:lpstr>Diapositiva 3</vt:lpstr>
      <vt:lpstr>Objetivos</vt:lpstr>
      <vt:lpstr>Descripción</vt:lpstr>
      <vt:lpstr>Modelo de Red</vt:lpstr>
      <vt:lpstr>Metodología</vt:lpstr>
      <vt:lpstr>Componentes</vt:lpstr>
      <vt:lpstr>Hardware</vt:lpstr>
      <vt:lpstr>Hardware</vt:lpstr>
      <vt:lpstr>Hardware</vt:lpstr>
      <vt:lpstr>Software</vt:lpstr>
      <vt:lpstr>Configuración Asterisk</vt:lpstr>
      <vt:lpstr>SIP.CONF</vt:lpstr>
      <vt:lpstr>IAX.CONF</vt:lpstr>
      <vt:lpstr>EXTENSIONS.CONF</vt:lpstr>
      <vt:lpstr>Pruebas</vt:lpstr>
      <vt:lpstr>Conclusiones</vt:lpstr>
      <vt:lpstr>Recomendaciones</vt:lpstr>
      <vt:lpstr>Preguntas</vt:lpstr>
    </vt:vector>
  </TitlesOfParts>
  <Company>PresentationPoint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lue screen</dc:title>
  <dc:creator>PresentationPoint</dc:creator>
  <cp:lastModifiedBy> </cp:lastModifiedBy>
  <cp:revision>609</cp:revision>
  <cp:lastPrinted>2005-03-15T07:48:11Z</cp:lastPrinted>
  <dcterms:created xsi:type="dcterms:W3CDTF">2004-11-16T16:03:16Z</dcterms:created>
  <dcterms:modified xsi:type="dcterms:W3CDTF">2011-06-14T16:30:47Z</dcterms:modified>
</cp:coreProperties>
</file>